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81" r:id="rId4"/>
    <p:sldMasterId id="2147484005" r:id="rId5"/>
  </p:sldMasterIdLst>
  <p:notesMasterIdLst>
    <p:notesMasterId r:id="rId16"/>
  </p:notesMasterIdLst>
  <p:sldIdLst>
    <p:sldId id="256" r:id="rId6"/>
    <p:sldId id="258" r:id="rId7"/>
    <p:sldId id="264" r:id="rId8"/>
    <p:sldId id="260" r:id="rId9"/>
    <p:sldId id="263" r:id="rId10"/>
    <p:sldId id="266" r:id="rId11"/>
    <p:sldId id="265" r:id="rId12"/>
    <p:sldId id="261" r:id="rId13"/>
    <p:sldId id="267" r:id="rId14"/>
    <p:sldId id="268" r:id="rId15"/>
  </p:sldIdLst>
  <p:sldSz cx="12192000" cy="6858000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Natzungen" id="{54D2307D-80E8-4AFD-BE4B-FF4CB18072D5}">
          <p14:sldIdLst>
            <p14:sldId id="256"/>
            <p14:sldId id="258"/>
            <p14:sldId id="264"/>
            <p14:sldId id="260"/>
            <p14:sldId id="263"/>
            <p14:sldId id="266"/>
            <p14:sldId id="265"/>
            <p14:sldId id="261"/>
            <p14:sldId id="267"/>
            <p14:sldId id="268"/>
          </p14:sldIdLst>
        </p14:section>
      </p14:sectionLst>
    </p:ext>
    <p:ext uri="{EFAFB233-063F-42B5-8137-9DF3F51BA10A}">
      <p15:sldGuideLst xmlns:p15="http://schemas.microsoft.com/office/powerpoint/2012/main">
        <p15:guide id="8" orient="horz" pos="2160">
          <p15:clr>
            <a:srgbClr val="A4A3A4"/>
          </p15:clr>
        </p15:guide>
        <p15:guide id="9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C6E8"/>
    <a:srgbClr val="314590"/>
    <a:srgbClr val="25346D"/>
    <a:srgbClr val="F5A04E"/>
    <a:srgbClr val="6AB4B2"/>
    <a:srgbClr val="1F82C0"/>
    <a:srgbClr val="FFFFFF"/>
    <a:srgbClr val="E95B84"/>
    <a:srgbClr val="FA81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22E56CF-F25B-4CA9-8066-5B91FA397D7F}" v="8" dt="2024-07-22T19:22:56.94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04" autoAdjust="0"/>
    <p:restoredTop sz="88246" autoAdjust="0"/>
  </p:normalViewPr>
  <p:slideViewPr>
    <p:cSldViewPr snapToGrid="0">
      <p:cViewPr varScale="1">
        <p:scale>
          <a:sx n="132" d="100"/>
          <a:sy n="132" d="100"/>
        </p:scale>
        <p:origin x="1326" y="13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öttcher, Anna" userId="3f7354d4-acf4-4414-a727-f96884e1338d" providerId="ADAL" clId="{722E56CF-F25B-4CA9-8066-5B91FA397D7F}"/>
    <pc:docChg chg="undo custSel addSld delSld modSld delMainMaster delSection modSection">
      <pc:chgData name="Böttcher, Anna" userId="3f7354d4-acf4-4414-a727-f96884e1338d" providerId="ADAL" clId="{722E56CF-F25B-4CA9-8066-5B91FA397D7F}" dt="2024-07-23T18:03:08.851" v="88" actId="207"/>
      <pc:docMkLst>
        <pc:docMk/>
      </pc:docMkLst>
      <pc:sldChg chg="delSp modSp mod">
        <pc:chgData name="Böttcher, Anna" userId="3f7354d4-acf4-4414-a727-f96884e1338d" providerId="ADAL" clId="{722E56CF-F25B-4CA9-8066-5B91FA397D7F}" dt="2024-07-22T19:21:15.083" v="34" actId="20577"/>
        <pc:sldMkLst>
          <pc:docMk/>
          <pc:sldMk cId="786783733" sldId="256"/>
        </pc:sldMkLst>
        <pc:spChg chg="mod">
          <ac:chgData name="Böttcher, Anna" userId="3f7354d4-acf4-4414-a727-f96884e1338d" providerId="ADAL" clId="{722E56CF-F25B-4CA9-8066-5B91FA397D7F}" dt="2024-07-22T19:21:15.083" v="34" actId="20577"/>
          <ac:spMkLst>
            <pc:docMk/>
            <pc:sldMk cId="786783733" sldId="256"/>
            <ac:spMk id="9" creationId="{5CE94B0A-8D19-72B7-5DA2-749D3BC548B9}"/>
          </ac:spMkLst>
        </pc:spChg>
        <pc:spChg chg="del">
          <ac:chgData name="Böttcher, Anna" userId="3f7354d4-acf4-4414-a727-f96884e1338d" providerId="ADAL" clId="{722E56CF-F25B-4CA9-8066-5B91FA397D7F}" dt="2024-07-22T19:20:51.674" v="4" actId="478"/>
          <ac:spMkLst>
            <pc:docMk/>
            <pc:sldMk cId="786783733" sldId="256"/>
            <ac:spMk id="16" creationId="{ACBC6597-6533-EF22-F449-DB156B32E0B6}"/>
          </ac:spMkLst>
        </pc:spChg>
        <pc:spChg chg="del">
          <ac:chgData name="Böttcher, Anna" userId="3f7354d4-acf4-4414-a727-f96884e1338d" providerId="ADAL" clId="{722E56CF-F25B-4CA9-8066-5B91FA397D7F}" dt="2024-07-22T19:20:55.178" v="5" actId="478"/>
          <ac:spMkLst>
            <pc:docMk/>
            <pc:sldMk cId="786783733" sldId="256"/>
            <ac:spMk id="18" creationId="{C8669588-4D04-C960-9901-B9DA042E19E2}"/>
          </ac:spMkLst>
        </pc:spChg>
        <pc:picChg chg="del">
          <ac:chgData name="Böttcher, Anna" userId="3f7354d4-acf4-4414-a727-f96884e1338d" providerId="ADAL" clId="{722E56CF-F25B-4CA9-8066-5B91FA397D7F}" dt="2024-07-22T19:21:00.297" v="6" actId="478"/>
          <ac:picMkLst>
            <pc:docMk/>
            <pc:sldMk cId="786783733" sldId="256"/>
            <ac:picMk id="17" creationId="{8285DE42-A69F-7316-DADA-0E36F7F964E9}"/>
          </ac:picMkLst>
        </pc:picChg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1189432282" sldId="257"/>
        </pc:sldMkLst>
      </pc:sldChg>
      <pc:sldChg chg="modSp add">
        <pc:chgData name="Böttcher, Anna" userId="3f7354d4-acf4-4414-a727-f96884e1338d" providerId="ADAL" clId="{722E56CF-F25B-4CA9-8066-5B91FA397D7F}" dt="2024-07-22T19:21:23.541" v="35" actId="207"/>
        <pc:sldMkLst>
          <pc:docMk/>
          <pc:sldMk cId="845912433" sldId="258"/>
        </pc:sldMkLst>
        <pc:spChg chg="mod">
          <ac:chgData name="Böttcher, Anna" userId="3f7354d4-acf4-4414-a727-f96884e1338d" providerId="ADAL" clId="{722E56CF-F25B-4CA9-8066-5B91FA397D7F}" dt="2024-07-22T19:21:23.541" v="35" actId="207"/>
          <ac:spMkLst>
            <pc:docMk/>
            <pc:sldMk cId="845912433" sldId="258"/>
            <ac:spMk id="6" creationId="{60F29FD7-833F-8FBB-A84A-2D34DB991C79}"/>
          </ac:spMkLst>
        </pc:spChg>
        <pc:spChg chg="mod">
          <ac:chgData name="Böttcher, Anna" userId="3f7354d4-acf4-4414-a727-f96884e1338d" providerId="ADAL" clId="{722E56CF-F25B-4CA9-8066-5B91FA397D7F}" dt="2024-07-22T19:21:23.541" v="35" actId="207"/>
          <ac:spMkLst>
            <pc:docMk/>
            <pc:sldMk cId="845912433" sldId="258"/>
            <ac:spMk id="10" creationId="{452200E2-44F4-54F3-CEEF-B8BAB8B4E8B5}"/>
          </ac:spMkLst>
        </pc:spChg>
        <pc:spChg chg="mod">
          <ac:chgData name="Böttcher, Anna" userId="3f7354d4-acf4-4414-a727-f96884e1338d" providerId="ADAL" clId="{722E56CF-F25B-4CA9-8066-5B91FA397D7F}" dt="2024-07-22T19:21:23.541" v="35" actId="207"/>
          <ac:spMkLst>
            <pc:docMk/>
            <pc:sldMk cId="845912433" sldId="258"/>
            <ac:spMk id="11" creationId="{19DA0E87-B67F-6D53-BBA9-5F880E701723}"/>
          </ac:spMkLst>
        </pc:spChg>
        <pc:spChg chg="mod">
          <ac:chgData name="Böttcher, Anna" userId="3f7354d4-acf4-4414-a727-f96884e1338d" providerId="ADAL" clId="{722E56CF-F25B-4CA9-8066-5B91FA397D7F}" dt="2024-07-22T19:21:23.541" v="35" actId="207"/>
          <ac:spMkLst>
            <pc:docMk/>
            <pc:sldMk cId="845912433" sldId="258"/>
            <ac:spMk id="12" creationId="{09EA748B-1324-B708-DD85-6E76A5C62439}"/>
          </ac:spMkLst>
        </pc:spChg>
        <pc:spChg chg="mod">
          <ac:chgData name="Böttcher, Anna" userId="3f7354d4-acf4-4414-a727-f96884e1338d" providerId="ADAL" clId="{722E56CF-F25B-4CA9-8066-5B91FA397D7F}" dt="2024-07-22T19:21:23.541" v="35" actId="207"/>
          <ac:spMkLst>
            <pc:docMk/>
            <pc:sldMk cId="845912433" sldId="258"/>
            <ac:spMk id="13" creationId="{B0B93DFF-93BA-404E-54D9-EB118C3D67C3}"/>
          </ac:spMkLst>
        </pc:spChg>
        <pc:spChg chg="mod">
          <ac:chgData name="Böttcher, Anna" userId="3f7354d4-acf4-4414-a727-f96884e1338d" providerId="ADAL" clId="{722E56CF-F25B-4CA9-8066-5B91FA397D7F}" dt="2024-07-22T19:21:23.541" v="35" actId="207"/>
          <ac:spMkLst>
            <pc:docMk/>
            <pc:sldMk cId="845912433" sldId="258"/>
            <ac:spMk id="14" creationId="{22F8993E-EA88-266E-6838-AF464A5740DA}"/>
          </ac:spMkLst>
        </pc:spChg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1460824068" sldId="258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1549396734" sldId="259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1439307452" sldId="260"/>
        </pc:sldMkLst>
      </pc:sldChg>
      <pc:sldChg chg="modSp add mod">
        <pc:chgData name="Böttcher, Anna" userId="3f7354d4-acf4-4414-a727-f96884e1338d" providerId="ADAL" clId="{722E56CF-F25B-4CA9-8066-5B91FA397D7F}" dt="2024-07-22T19:21:48.329" v="40" actId="207"/>
        <pc:sldMkLst>
          <pc:docMk/>
          <pc:sldMk cId="4289345654" sldId="260"/>
        </pc:sldMkLst>
        <pc:spChg chg="mod">
          <ac:chgData name="Böttcher, Anna" userId="3f7354d4-acf4-4414-a727-f96884e1338d" providerId="ADAL" clId="{722E56CF-F25B-4CA9-8066-5B91FA397D7F}" dt="2024-07-22T19:21:44.688" v="39" actId="108"/>
          <ac:spMkLst>
            <pc:docMk/>
            <pc:sldMk cId="4289345654" sldId="260"/>
            <ac:spMk id="9" creationId="{741C2238-B7C3-DECC-99AA-A30C297C4EBB}"/>
          </ac:spMkLst>
        </pc:spChg>
        <pc:spChg chg="mod">
          <ac:chgData name="Böttcher, Anna" userId="3f7354d4-acf4-4414-a727-f96884e1338d" providerId="ADAL" clId="{722E56CF-F25B-4CA9-8066-5B91FA397D7F}" dt="2024-07-22T19:21:48.329" v="40" actId="207"/>
          <ac:spMkLst>
            <pc:docMk/>
            <pc:sldMk cId="4289345654" sldId="260"/>
            <ac:spMk id="11" creationId="{7C391792-ACE9-1163-9EDD-889D91A0DA9A}"/>
          </ac:spMkLst>
        </pc:spChg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1734937093" sldId="261"/>
        </pc:sldMkLst>
      </pc:sldChg>
      <pc:sldChg chg="modSp add mod">
        <pc:chgData name="Böttcher, Anna" userId="3f7354d4-acf4-4414-a727-f96884e1338d" providerId="ADAL" clId="{722E56CF-F25B-4CA9-8066-5B91FA397D7F}" dt="2024-07-22T19:23:29.146" v="57" actId="207"/>
        <pc:sldMkLst>
          <pc:docMk/>
          <pc:sldMk cId="2963987920" sldId="261"/>
        </pc:sldMkLst>
        <pc:spChg chg="mod">
          <ac:chgData name="Böttcher, Anna" userId="3f7354d4-acf4-4414-a727-f96884e1338d" providerId="ADAL" clId="{722E56CF-F25B-4CA9-8066-5B91FA397D7F}" dt="2024-07-22T19:23:29.146" v="57" actId="207"/>
          <ac:spMkLst>
            <pc:docMk/>
            <pc:sldMk cId="2963987920" sldId="261"/>
            <ac:spMk id="6" creationId="{55FB702A-2DC8-8288-DD74-C04DB6E0B630}"/>
          </ac:spMkLst>
        </pc:spChg>
        <pc:spChg chg="mod">
          <ac:chgData name="Böttcher, Anna" userId="3f7354d4-acf4-4414-a727-f96884e1338d" providerId="ADAL" clId="{722E56CF-F25B-4CA9-8066-5B91FA397D7F}" dt="2024-07-22T19:23:29.146" v="57" actId="207"/>
          <ac:spMkLst>
            <pc:docMk/>
            <pc:sldMk cId="2963987920" sldId="261"/>
            <ac:spMk id="10" creationId="{CA04096E-7228-F4AF-F98D-D78606E97924}"/>
          </ac:spMkLst>
        </pc:spChg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1065383180" sldId="262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1172002711" sldId="263"/>
        </pc:sldMkLst>
      </pc:sldChg>
      <pc:sldChg chg="modSp add mod">
        <pc:chgData name="Böttcher, Anna" userId="3f7354d4-acf4-4414-a727-f96884e1338d" providerId="ADAL" clId="{722E56CF-F25B-4CA9-8066-5B91FA397D7F}" dt="2024-07-22T19:22:33.455" v="43" actId="207"/>
        <pc:sldMkLst>
          <pc:docMk/>
          <pc:sldMk cId="2798309894" sldId="263"/>
        </pc:sldMkLst>
        <pc:spChg chg="mod">
          <ac:chgData name="Böttcher, Anna" userId="3f7354d4-acf4-4414-a727-f96884e1338d" providerId="ADAL" clId="{722E56CF-F25B-4CA9-8066-5B91FA397D7F}" dt="2024-07-22T19:22:33.455" v="43" actId="207"/>
          <ac:spMkLst>
            <pc:docMk/>
            <pc:sldMk cId="2798309894" sldId="263"/>
            <ac:spMk id="8" creationId="{415B66AF-464C-4398-51DF-9B3161B7CB16}"/>
          </ac:spMkLst>
        </pc:spChg>
        <pc:spChg chg="mod">
          <ac:chgData name="Böttcher, Anna" userId="3f7354d4-acf4-4414-a727-f96884e1338d" providerId="ADAL" clId="{722E56CF-F25B-4CA9-8066-5B91FA397D7F}" dt="2024-07-22T19:22:33.455" v="43" actId="207"/>
          <ac:spMkLst>
            <pc:docMk/>
            <pc:sldMk cId="2798309894" sldId="263"/>
            <ac:spMk id="9" creationId="{BC82063E-B363-7C89-88E9-30E86E9E2693}"/>
          </ac:spMkLst>
        </pc:spChg>
        <pc:spChg chg="mod">
          <ac:chgData name="Böttcher, Anna" userId="3f7354d4-acf4-4414-a727-f96884e1338d" providerId="ADAL" clId="{722E56CF-F25B-4CA9-8066-5B91FA397D7F}" dt="2024-07-22T19:22:33.455" v="43" actId="207"/>
          <ac:spMkLst>
            <pc:docMk/>
            <pc:sldMk cId="2798309894" sldId="263"/>
            <ac:spMk id="10" creationId="{738E1AFE-A29F-E27F-5F17-682E786CC5BC}"/>
          </ac:spMkLst>
        </pc:spChg>
        <pc:spChg chg="mod">
          <ac:chgData name="Böttcher, Anna" userId="3f7354d4-acf4-4414-a727-f96884e1338d" providerId="ADAL" clId="{722E56CF-F25B-4CA9-8066-5B91FA397D7F}" dt="2024-07-22T19:22:33.455" v="43" actId="207"/>
          <ac:spMkLst>
            <pc:docMk/>
            <pc:sldMk cId="2798309894" sldId="263"/>
            <ac:spMk id="11" creationId="{086BFCC8-4703-182B-71AE-C396BFFD7349}"/>
          </ac:spMkLst>
        </pc:spChg>
        <pc:spChg chg="mod">
          <ac:chgData name="Böttcher, Anna" userId="3f7354d4-acf4-4414-a727-f96884e1338d" providerId="ADAL" clId="{722E56CF-F25B-4CA9-8066-5B91FA397D7F}" dt="2024-07-22T19:22:33.455" v="43" actId="207"/>
          <ac:spMkLst>
            <pc:docMk/>
            <pc:sldMk cId="2798309894" sldId="263"/>
            <ac:spMk id="12" creationId="{4E2F38D9-C18D-65FD-39CF-BE87451A3A99}"/>
          </ac:spMkLst>
        </pc:spChg>
        <pc:spChg chg="mod">
          <ac:chgData name="Böttcher, Anna" userId="3f7354d4-acf4-4414-a727-f96884e1338d" providerId="ADAL" clId="{722E56CF-F25B-4CA9-8066-5B91FA397D7F}" dt="2024-07-22T19:22:33.455" v="43" actId="207"/>
          <ac:spMkLst>
            <pc:docMk/>
            <pc:sldMk cId="2798309894" sldId="263"/>
            <ac:spMk id="13" creationId="{D09F1540-4FD6-791E-0A72-762BB0B1BE3D}"/>
          </ac:spMkLst>
        </pc:spChg>
        <pc:spChg chg="mod">
          <ac:chgData name="Böttcher, Anna" userId="3f7354d4-acf4-4414-a727-f96884e1338d" providerId="ADAL" clId="{722E56CF-F25B-4CA9-8066-5B91FA397D7F}" dt="2024-07-22T19:22:33.455" v="43" actId="207"/>
          <ac:spMkLst>
            <pc:docMk/>
            <pc:sldMk cId="2798309894" sldId="263"/>
            <ac:spMk id="14" creationId="{5B4D278F-77AA-847D-56F6-BEC27B691A62}"/>
          </ac:spMkLst>
        </pc:spChg>
        <pc:spChg chg="mod">
          <ac:chgData name="Böttcher, Anna" userId="3f7354d4-acf4-4414-a727-f96884e1338d" providerId="ADAL" clId="{722E56CF-F25B-4CA9-8066-5B91FA397D7F}" dt="2024-07-22T19:22:02.672" v="42" actId="108"/>
          <ac:spMkLst>
            <pc:docMk/>
            <pc:sldMk cId="2798309894" sldId="263"/>
            <ac:spMk id="18" creationId="{01EADD6D-B60D-5FF3-BA12-4BE8E6B6A78B}"/>
          </ac:spMkLst>
        </pc:spChg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2572186026" sldId="264"/>
        </pc:sldMkLst>
      </pc:sldChg>
      <pc:sldChg chg="modSp add mod">
        <pc:chgData name="Böttcher, Anna" userId="3f7354d4-acf4-4414-a727-f96884e1338d" providerId="ADAL" clId="{722E56CF-F25B-4CA9-8066-5B91FA397D7F}" dt="2024-07-22T19:21:52.057" v="41" actId="207"/>
        <pc:sldMkLst>
          <pc:docMk/>
          <pc:sldMk cId="3081049804" sldId="264"/>
        </pc:sldMkLst>
        <pc:spChg chg="mod">
          <ac:chgData name="Böttcher, Anna" userId="3f7354d4-acf4-4414-a727-f96884e1338d" providerId="ADAL" clId="{722E56CF-F25B-4CA9-8066-5B91FA397D7F}" dt="2024-07-22T19:21:36.880" v="38" actId="12"/>
          <ac:spMkLst>
            <pc:docMk/>
            <pc:sldMk cId="3081049804" sldId="264"/>
            <ac:spMk id="9" creationId="{DDDA9A12-82D8-5BB0-F6A1-4DA2F0A47B24}"/>
          </ac:spMkLst>
        </pc:spChg>
        <pc:spChg chg="mod">
          <ac:chgData name="Böttcher, Anna" userId="3f7354d4-acf4-4414-a727-f96884e1338d" providerId="ADAL" clId="{722E56CF-F25B-4CA9-8066-5B91FA397D7F}" dt="2024-07-22T19:21:52.057" v="41" actId="207"/>
          <ac:spMkLst>
            <pc:docMk/>
            <pc:sldMk cId="3081049804" sldId="264"/>
            <ac:spMk id="11" creationId="{3F9CE923-7E44-447F-9A33-F73304708AD2}"/>
          </ac:spMkLst>
        </pc:spChg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3918193317" sldId="265"/>
        </pc:sldMkLst>
      </pc:sldChg>
      <pc:sldChg chg="modSp add mod">
        <pc:chgData name="Böttcher, Anna" userId="3f7354d4-acf4-4414-a727-f96884e1338d" providerId="ADAL" clId="{722E56CF-F25B-4CA9-8066-5B91FA397D7F}" dt="2024-07-22T19:23:15.484" v="52" actId="12"/>
        <pc:sldMkLst>
          <pc:docMk/>
          <pc:sldMk cId="4170625427" sldId="265"/>
        </pc:sldMkLst>
        <pc:spChg chg="mod">
          <ac:chgData name="Böttcher, Anna" userId="3f7354d4-acf4-4414-a727-f96884e1338d" providerId="ADAL" clId="{722E56CF-F25B-4CA9-8066-5B91FA397D7F}" dt="2024-07-22T19:22:56.948" v="48" actId="207"/>
          <ac:spMkLst>
            <pc:docMk/>
            <pc:sldMk cId="4170625427" sldId="265"/>
            <ac:spMk id="9" creationId="{B3DA1574-E66F-E064-5E36-0FB8CFBF7AD2}"/>
          </ac:spMkLst>
        </pc:spChg>
        <pc:spChg chg="mod">
          <ac:chgData name="Böttcher, Anna" userId="3f7354d4-acf4-4414-a727-f96884e1338d" providerId="ADAL" clId="{722E56CF-F25B-4CA9-8066-5B91FA397D7F}" dt="2024-07-22T19:22:56.948" v="48" actId="207"/>
          <ac:spMkLst>
            <pc:docMk/>
            <pc:sldMk cId="4170625427" sldId="265"/>
            <ac:spMk id="10" creationId="{672EDE2F-CA70-D508-3C3D-BD1C06C764CD}"/>
          </ac:spMkLst>
        </pc:spChg>
        <pc:spChg chg="mod">
          <ac:chgData name="Böttcher, Anna" userId="3f7354d4-acf4-4414-a727-f96884e1338d" providerId="ADAL" clId="{722E56CF-F25B-4CA9-8066-5B91FA397D7F}" dt="2024-07-22T19:23:15.484" v="52" actId="12"/>
          <ac:spMkLst>
            <pc:docMk/>
            <pc:sldMk cId="4170625427" sldId="265"/>
            <ac:spMk id="12" creationId="{29FF2DF9-F0A2-6B9D-F634-B3E5F272956C}"/>
          </ac:spMkLst>
        </pc:spChg>
        <pc:spChg chg="mod">
          <ac:chgData name="Böttcher, Anna" userId="3f7354d4-acf4-4414-a727-f96884e1338d" providerId="ADAL" clId="{722E56CF-F25B-4CA9-8066-5B91FA397D7F}" dt="2024-07-22T19:23:07.496" v="50" actId="207"/>
          <ac:spMkLst>
            <pc:docMk/>
            <pc:sldMk cId="4170625427" sldId="265"/>
            <ac:spMk id="13" creationId="{C1EDFDE8-F41A-56FB-0D88-3D7D19B8CC8E}"/>
          </ac:spMkLst>
        </pc:spChg>
        <pc:spChg chg="mod">
          <ac:chgData name="Böttcher, Anna" userId="3f7354d4-acf4-4414-a727-f96884e1338d" providerId="ADAL" clId="{722E56CF-F25B-4CA9-8066-5B91FA397D7F}" dt="2024-07-22T19:22:56.948" v="48" actId="207"/>
          <ac:spMkLst>
            <pc:docMk/>
            <pc:sldMk cId="4170625427" sldId="265"/>
            <ac:spMk id="14" creationId="{CDD83CB3-0124-D997-E96F-80D86FB71147}"/>
          </ac:spMkLst>
        </pc:spChg>
      </pc:sldChg>
      <pc:sldChg chg="modSp add mod">
        <pc:chgData name="Böttcher, Anna" userId="3f7354d4-acf4-4414-a727-f96884e1338d" providerId="ADAL" clId="{722E56CF-F25B-4CA9-8066-5B91FA397D7F}" dt="2024-07-22T19:22:48.487" v="47" actId="207"/>
        <pc:sldMkLst>
          <pc:docMk/>
          <pc:sldMk cId="2043378655" sldId="266"/>
        </pc:sldMkLst>
        <pc:spChg chg="mod">
          <ac:chgData name="Böttcher, Anna" userId="3f7354d4-acf4-4414-a727-f96884e1338d" providerId="ADAL" clId="{722E56CF-F25B-4CA9-8066-5B91FA397D7F}" dt="2024-07-22T19:22:48.487" v="47" actId="207"/>
          <ac:spMkLst>
            <pc:docMk/>
            <pc:sldMk cId="2043378655" sldId="266"/>
            <ac:spMk id="9" creationId="{894009C7-0A80-D51D-2695-4BF03A72D75A}"/>
          </ac:spMkLst>
        </pc:spChg>
        <pc:spChg chg="mod">
          <ac:chgData name="Böttcher, Anna" userId="3f7354d4-acf4-4414-a727-f96884e1338d" providerId="ADAL" clId="{722E56CF-F25B-4CA9-8066-5B91FA397D7F}" dt="2024-07-22T19:22:36.323" v="44" actId="207"/>
          <ac:spMkLst>
            <pc:docMk/>
            <pc:sldMk cId="2043378655" sldId="266"/>
            <ac:spMk id="14" creationId="{01AD3EC1-F716-1F91-F9AF-DFFE2D457037}"/>
          </ac:spMkLst>
        </pc:spChg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4145099079" sldId="267"/>
        </pc:sldMkLst>
        <pc:spChg chg="mod">
          <ac:chgData name="Böttcher, Anna" userId="3f7354d4-acf4-4414-a727-f96884e1338d" providerId="ADAL" clId="{722E56CF-F25B-4CA9-8066-5B91FA397D7F}" dt="2024-07-22T19:23:43.219" v="64" actId="207"/>
          <ac:spMkLst>
            <pc:docMk/>
            <pc:sldMk cId="4145099079" sldId="267"/>
            <ac:spMk id="5" creationId="{61889475-5AD7-0B8D-3C03-B11FE2A4CA41}"/>
          </ac:spMkLst>
        </pc:spChg>
        <pc:spChg chg="mod">
          <ac:chgData name="Böttcher, Anna" userId="3f7354d4-acf4-4414-a727-f96884e1338d" providerId="ADAL" clId="{722E56CF-F25B-4CA9-8066-5B91FA397D7F}" dt="2024-07-22T19:23:43.219" v="64" actId="207"/>
          <ac:spMkLst>
            <pc:docMk/>
            <pc:sldMk cId="4145099079" sldId="267"/>
            <ac:spMk id="7" creationId="{D66C888E-2285-A0D5-0857-A6A724E21F35}"/>
          </ac:spMkLst>
        </pc:spChg>
      </pc:sldChg>
      <pc:sldChg chg="modSp del mod">
        <pc:chgData name="Böttcher, Anna" userId="3f7354d4-acf4-4414-a727-f96884e1338d" providerId="ADAL" clId="{722E56CF-F25B-4CA9-8066-5B91FA397D7F}" dt="2024-07-23T18:03:08.851" v="88" actId="207"/>
        <pc:sldMkLst>
          <pc:docMk/>
          <pc:sldMk cId="3189796025" sldId="268"/>
        </pc:sldMkLst>
        <pc:spChg chg="mod">
          <ac:chgData name="Böttcher, Anna" userId="3f7354d4-acf4-4414-a727-f96884e1338d" providerId="ADAL" clId="{722E56CF-F25B-4CA9-8066-5B91FA397D7F}" dt="2024-07-23T18:03:08.851" v="88" actId="207"/>
          <ac:spMkLst>
            <pc:docMk/>
            <pc:sldMk cId="3189796025" sldId="268"/>
            <ac:spMk id="6" creationId="{7B59A67F-196C-93AC-ED64-0682086530CF}"/>
          </ac:spMkLst>
        </pc:spChg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269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270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2734454297" sldId="271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1881064" sldId="272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609892250" sldId="273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274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275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276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277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278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279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280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281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282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4116756349" sldId="364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2920139703" sldId="378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2837693933" sldId="381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1678787796" sldId="383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3586024800" sldId="385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2244929698" sldId="387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2313348019" sldId="388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389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390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391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392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393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394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395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396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397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398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399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400"/>
        </pc:sldMkLst>
      </pc:sldChg>
      <pc:sldChg chg="del">
        <pc:chgData name="Böttcher, Anna" userId="3f7354d4-acf4-4414-a727-f96884e1338d" providerId="ADAL" clId="{722E56CF-F25B-4CA9-8066-5B91FA397D7F}" dt="2024-07-22T19:20:39.658" v="0" actId="47"/>
        <pc:sldMkLst>
          <pc:docMk/>
          <pc:sldMk cId="0" sldId="401"/>
        </pc:sldMkLst>
      </pc:sldChg>
      <pc:sldMasterChg chg="del delSldLayout">
        <pc:chgData name="Böttcher, Anna" userId="3f7354d4-acf4-4414-a727-f96884e1338d" providerId="ADAL" clId="{722E56CF-F25B-4CA9-8066-5B91FA397D7F}" dt="2024-07-22T19:20:39.658" v="0" actId="47"/>
        <pc:sldMasterMkLst>
          <pc:docMk/>
          <pc:sldMasterMk cId="1901303540" sldId="2147484029"/>
        </pc:sldMasterMkLst>
        <pc:sldLayoutChg chg="del">
          <pc:chgData name="Böttcher, Anna" userId="3f7354d4-acf4-4414-a727-f96884e1338d" providerId="ADAL" clId="{722E56CF-F25B-4CA9-8066-5B91FA397D7F}" dt="2024-07-22T19:20:39.658" v="0" actId="47"/>
          <pc:sldLayoutMkLst>
            <pc:docMk/>
            <pc:sldMasterMk cId="1901303540" sldId="2147484029"/>
            <pc:sldLayoutMk cId="2207156374" sldId="2147484030"/>
          </pc:sldLayoutMkLst>
        </pc:sldLayoutChg>
        <pc:sldLayoutChg chg="del">
          <pc:chgData name="Böttcher, Anna" userId="3f7354d4-acf4-4414-a727-f96884e1338d" providerId="ADAL" clId="{722E56CF-F25B-4CA9-8066-5B91FA397D7F}" dt="2024-07-22T19:20:39.658" v="0" actId="47"/>
          <pc:sldLayoutMkLst>
            <pc:docMk/>
            <pc:sldMasterMk cId="1901303540" sldId="2147484029"/>
            <pc:sldLayoutMk cId="2101348882" sldId="2147484031"/>
          </pc:sldLayoutMkLst>
        </pc:sldLayoutChg>
        <pc:sldLayoutChg chg="del">
          <pc:chgData name="Böttcher, Anna" userId="3f7354d4-acf4-4414-a727-f96884e1338d" providerId="ADAL" clId="{722E56CF-F25B-4CA9-8066-5B91FA397D7F}" dt="2024-07-22T19:20:39.658" v="0" actId="47"/>
          <pc:sldLayoutMkLst>
            <pc:docMk/>
            <pc:sldMasterMk cId="1901303540" sldId="2147484029"/>
            <pc:sldLayoutMk cId="563115405" sldId="2147484032"/>
          </pc:sldLayoutMkLst>
        </pc:sldLayoutChg>
      </pc:sldMasterChg>
      <pc:sldMasterChg chg="del delSldLayout">
        <pc:chgData name="Böttcher, Anna" userId="3f7354d4-acf4-4414-a727-f96884e1338d" providerId="ADAL" clId="{722E56CF-F25B-4CA9-8066-5B91FA397D7F}" dt="2024-07-22T19:20:39.658" v="0" actId="47"/>
        <pc:sldMasterMkLst>
          <pc:docMk/>
          <pc:sldMasterMk cId="465870266" sldId="2147484033"/>
        </pc:sldMasterMkLst>
        <pc:sldLayoutChg chg="del">
          <pc:chgData name="Böttcher, Anna" userId="3f7354d4-acf4-4414-a727-f96884e1338d" providerId="ADAL" clId="{722E56CF-F25B-4CA9-8066-5B91FA397D7F}" dt="2024-07-22T19:20:39.658" v="0" actId="47"/>
          <pc:sldLayoutMkLst>
            <pc:docMk/>
            <pc:sldMasterMk cId="465870266" sldId="2147484033"/>
            <pc:sldLayoutMk cId="3398269769" sldId="2147484034"/>
          </pc:sldLayoutMkLst>
        </pc:sldLayoutChg>
        <pc:sldLayoutChg chg="del">
          <pc:chgData name="Böttcher, Anna" userId="3f7354d4-acf4-4414-a727-f96884e1338d" providerId="ADAL" clId="{722E56CF-F25B-4CA9-8066-5B91FA397D7F}" dt="2024-07-22T19:20:39.658" v="0" actId="47"/>
          <pc:sldLayoutMkLst>
            <pc:docMk/>
            <pc:sldMasterMk cId="465870266" sldId="2147484033"/>
            <pc:sldLayoutMk cId="37151509" sldId="2147484035"/>
          </pc:sldLayoutMkLst>
        </pc:sldLayoutChg>
        <pc:sldLayoutChg chg="del">
          <pc:chgData name="Böttcher, Anna" userId="3f7354d4-acf4-4414-a727-f96884e1338d" providerId="ADAL" clId="{722E56CF-F25B-4CA9-8066-5B91FA397D7F}" dt="2024-07-22T19:20:39.658" v="0" actId="47"/>
          <pc:sldLayoutMkLst>
            <pc:docMk/>
            <pc:sldMasterMk cId="465870266" sldId="2147484033"/>
            <pc:sldLayoutMk cId="1541810128" sldId="2147484036"/>
          </pc:sldLayoutMkLst>
        </pc:sldLayoutChg>
        <pc:sldLayoutChg chg="del">
          <pc:chgData name="Böttcher, Anna" userId="3f7354d4-acf4-4414-a727-f96884e1338d" providerId="ADAL" clId="{722E56CF-F25B-4CA9-8066-5B91FA397D7F}" dt="2024-07-22T19:20:39.658" v="0" actId="47"/>
          <pc:sldLayoutMkLst>
            <pc:docMk/>
            <pc:sldMasterMk cId="465870266" sldId="2147484033"/>
            <pc:sldLayoutMk cId="1205026695" sldId="2147484037"/>
          </pc:sldLayoutMkLst>
        </pc:sldLayoutChg>
        <pc:sldLayoutChg chg="del">
          <pc:chgData name="Böttcher, Anna" userId="3f7354d4-acf4-4414-a727-f96884e1338d" providerId="ADAL" clId="{722E56CF-F25B-4CA9-8066-5B91FA397D7F}" dt="2024-07-22T19:20:39.658" v="0" actId="47"/>
          <pc:sldLayoutMkLst>
            <pc:docMk/>
            <pc:sldMasterMk cId="465870266" sldId="2147484033"/>
            <pc:sldLayoutMk cId="1701901441" sldId="2147484038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100" y="0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C5904C-9ADA-45C4-A231-AA4ABE87E8CD}" type="datetimeFigureOut">
              <a:rPr lang="de-DE" smtClean="0"/>
              <a:t>10.02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963"/>
            <a:ext cx="5435600" cy="39100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2925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100" y="9432925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391653-064E-4827-822F-FDE4CBA105F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1220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egrüßung Benedik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391653-064E-4827-822F-FDE4CBA105F3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4407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5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8DAF529-A613-4435-B8AD-99A9E1A814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10776445" y="6586539"/>
            <a:ext cx="974879" cy="215900"/>
          </a:xfrm>
          <a:prstGeom prst="rect">
            <a:avLst/>
          </a:prstGeom>
          <a:noFill/>
        </p:spPr>
        <p:txBody>
          <a:bodyPr wrap="square" lIns="71991" tIns="0" rIns="71991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7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127448" y="1809750"/>
            <a:ext cx="8505825" cy="1439863"/>
          </a:xfrm>
          <a:prstGeom prst="rect">
            <a:avLst/>
          </a:prstGeom>
        </p:spPr>
        <p:txBody>
          <a:bodyPr lIns="72000" tIns="72000" rIns="72000" bIns="72000" anchor="b"/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itel durch Klicken hinzufügen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27448" y="3463487"/>
            <a:ext cx="8505825" cy="1439863"/>
          </a:xfrm>
          <a:prstGeom prst="rect">
            <a:avLst/>
          </a:prstGeom>
        </p:spPr>
        <p:txBody>
          <a:bodyPr lIns="72000" tIns="72000" rIns="72000" bIns="72000" anchor="t"/>
          <a:lstStyle>
            <a:lvl1pPr marL="0" indent="0">
              <a:buNone/>
              <a:defRPr sz="1800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 durch Klicken hinzufügen</a:t>
            </a:r>
          </a:p>
        </p:txBody>
      </p:sp>
      <p:pic>
        <p:nvPicPr>
          <p:cNvPr id="2" name="Grafik 1" descr="Ein Bild, das Symbol, Leuchtturm enthält.&#10;&#10;Automatisch generierte Beschreibung">
            <a:extLst>
              <a:ext uri="{FF2B5EF4-FFF2-40B4-BE49-F238E27FC236}">
                <a16:creationId xmlns:a16="http://schemas.microsoft.com/office/drawing/2014/main" id="{DEB4ADF5-6C8F-1DA0-F8E2-8304A841395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76445" y="257175"/>
            <a:ext cx="1053605" cy="1488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4258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6AF88889-B5DA-4E92-B82C-89704513BEC8}" type="datetime1">
              <a:rPr lang="de-DE" smtClean="0"/>
              <a:t>10.02.2025</a:t>
            </a:fld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620497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00DDF5EF-30AD-4BDD-A98D-D50960BCC6FB}" type="datetime1">
              <a:rPr lang="de-DE" smtClean="0"/>
              <a:t>10.02.2025</a:t>
            </a:fld>
            <a:endParaRPr lang="de-DE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98930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3267341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4684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AEADFF16-F127-4D9E-AA34-40B5DF831EEC}" type="datetime1">
              <a:rPr lang="de-DE" smtClean="0"/>
              <a:t>10.02.2025</a:t>
            </a:fld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3267341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174684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9"/>
          </p:nvPr>
        </p:nvSpPr>
        <p:spPr>
          <a:xfrm>
            <a:off x="9082027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Bildplatzhalter 6"/>
          <p:cNvSpPr>
            <a:spLocks noGrp="1"/>
          </p:cNvSpPr>
          <p:nvPr>
            <p:ph type="pic" sz="quarter" idx="20" hasCustomPrompt="1"/>
          </p:nvPr>
        </p:nvSpPr>
        <p:spPr>
          <a:xfrm>
            <a:off x="9082027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2466780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3">
          <p15:clr>
            <a:srgbClr val="FBAE40"/>
          </p15:clr>
        </p15:guide>
        <p15:guide id="2" pos="5626">
          <p15:clr>
            <a:srgbClr val="FBAE40"/>
          </p15:clr>
        </p15:guide>
        <p15:guide id="4" pos="5717">
          <p15:clr>
            <a:srgbClr val="FBAE40"/>
          </p15:clr>
        </p15:guide>
        <p15:guide id="5" pos="3840">
          <p15:clr>
            <a:srgbClr val="FBAE40"/>
          </p15:clr>
        </p15:guide>
        <p15:guide id="6" pos="2054">
          <p15:clr>
            <a:srgbClr val="FBAE40"/>
          </p15:clr>
        </p15:guide>
        <p15:guide id="7" pos="3789">
          <p15:clr>
            <a:srgbClr val="FBAE40"/>
          </p15:clr>
        </p15:guide>
        <p15:guide id="8" pos="3890">
          <p15:clr>
            <a:srgbClr val="FBAE40"/>
          </p15:clr>
        </p15:guide>
        <p15:guide id="10" orient="horz" pos="1973">
          <p15:clr>
            <a:srgbClr val="FBAE40"/>
          </p15:clr>
        </p15:guide>
        <p15:guide id="11" orient="horz" pos="187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7" y="884237"/>
            <a:ext cx="759337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4850" y="884238"/>
            <a:ext cx="3715200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59F4A340-4109-4D36-BC23-DFC5DD036A4F}" type="datetime1">
              <a:rPr lang="de-DE" smtClean="0"/>
              <a:t>10.02.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3219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BF2C8984-3432-489B-834E-6B6F612A3792}" type="datetime1">
              <a:rPr lang="de-DE" smtClean="0"/>
              <a:t>10.02.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3332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F3C14827-7725-4DFB-96AD-0518100B4C0E}" type="datetime1">
              <a:rPr lang="de-DE" smtClean="0"/>
              <a:t>10.02.2025</a:t>
            </a:fld>
            <a:endParaRPr lang="de-DE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70017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2C0B764B-6DD1-4A64-82C8-AB6F6EB2B2E2}" type="datetime1">
              <a:rPr lang="de-DE" smtClean="0"/>
              <a:t>10.02.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80247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0E002741-CC40-4BC6-8243-941124D6CFD6}" type="datetime1">
              <a:rPr lang="de-DE" smtClean="0"/>
              <a:t>10.02.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64549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Blau, Verschwommen, Electric Blue (Farbe), Majorelle Blue enthält.&#10;&#10;Automatisch generierte Beschreibung">
            <a:extLst>
              <a:ext uri="{FF2B5EF4-FFF2-40B4-BE49-F238E27FC236}">
                <a16:creationId xmlns:a16="http://schemas.microsoft.com/office/drawing/2014/main" id="{FF1A4076-8CF8-D13E-704C-AF006A0F37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9" y="0"/>
            <a:ext cx="12191102" cy="68580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7A859244-BCEE-E3C1-7FB7-38A33037896E}"/>
              </a:ext>
            </a:extLst>
          </p:cNvPr>
          <p:cNvSpPr/>
          <p:nvPr userDrawn="1"/>
        </p:nvSpPr>
        <p:spPr bwMode="gray">
          <a:xfrm>
            <a:off x="0" y="0"/>
            <a:ext cx="12191551" cy="6857999"/>
          </a:xfrm>
          <a:prstGeom prst="rect">
            <a:avLst/>
          </a:prstGeom>
          <a:solidFill>
            <a:srgbClr val="25346D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/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3442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link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3689350" cy="6858000"/>
          </a:xfrm>
          <a:prstGeom prst="rect">
            <a:avLst/>
          </a:prstGeo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>
              <a:defRPr lang="de-DE" sz="2800" b="0" baseline="0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Überschrift 28pt </a:t>
            </a:r>
            <a:br>
              <a:rPr lang="de-DE" sz="3200"/>
            </a:br>
            <a:r>
              <a:rPr lang="de-DE" sz="3200"/>
              <a:t>Unterüberschrift 22pt</a:t>
            </a:r>
            <a:endParaRPr lang="de-DE" sz="280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372297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3851351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FDD9B252-EC50-411F-8D79-66BF0C17491A}" type="datetime1">
              <a:rPr lang="de-DE" smtClean="0"/>
              <a:t>10.02.2025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851351" y="883065"/>
            <a:ext cx="7978250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C332B66-E88F-4ECA-B1FB-A175BDDDDB1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302255" cy="425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487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2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verzeichnis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563788" y="1193260"/>
            <a:ext cx="8774253" cy="432112"/>
          </a:xfrm>
          <a:prstGeom prst="rect">
            <a:avLst/>
          </a:prstGeom>
          <a:solidFill>
            <a:schemeClr val="bg2"/>
          </a:solidFill>
          <a:ln w="19050">
            <a:solidFill>
              <a:schemeClr val="bg2"/>
            </a:solidFill>
            <a:miter lim="800000"/>
          </a:ln>
          <a:effectLst/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360000" y="260352"/>
            <a:ext cx="9853477" cy="42321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 eaLnBrk="1" hangingPunct="1">
              <a:lnSpc>
                <a:spcPct val="90000"/>
              </a:lnSpc>
              <a:defRPr sz="22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2pPr>
            <a:lvl3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3pPr>
            <a:lvl4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4pPr>
            <a:lvl5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5pPr>
            <a:lvl6pPr marL="457148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6pPr>
            <a:lvl7pPr marL="914296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7pPr>
            <a:lvl8pPr marL="1371445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8pPr>
            <a:lvl9pPr marL="1828592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Agenda</a:t>
            </a:r>
          </a:p>
        </p:txBody>
      </p:sp>
      <p:sp>
        <p:nvSpPr>
          <p:cNvPr id="11" name="Textplatzhalter 19"/>
          <p:cNvSpPr>
            <a:spLocks noGrp="1"/>
          </p:cNvSpPr>
          <p:nvPr>
            <p:ph type="body" sz="quarter" idx="21"/>
          </p:nvPr>
        </p:nvSpPr>
        <p:spPr>
          <a:xfrm>
            <a:off x="1950106" y="1272890"/>
            <a:ext cx="8281079" cy="5224748"/>
          </a:xfrm>
          <a:prstGeom prst="rect">
            <a:avLst/>
          </a:prstGeom>
        </p:spPr>
        <p:txBody>
          <a:bodyPr/>
          <a:lstStyle>
            <a:lvl1pPr marL="222250" indent="-222250">
              <a:spcBef>
                <a:spcPts val="2600"/>
              </a:spcBef>
              <a:buClr>
                <a:schemeClr val="accent5"/>
              </a:buClr>
              <a:buFont typeface="Wingdings 3" panose="05040102010807070707" pitchFamily="18" charset="2"/>
              <a:buChar char="}"/>
              <a:defRPr b="1">
                <a:solidFill>
                  <a:schemeClr val="tx2"/>
                </a:solidFill>
              </a:defRPr>
            </a:lvl1pPr>
            <a:lvl2pPr marL="468000" indent="-234000">
              <a:spcBef>
                <a:spcPts val="2600"/>
              </a:spcBef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2pPr>
            <a:lvl3pPr marL="447675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75550E94-BC3B-4101-9A9B-CD323BB80168}" type="datetime1">
              <a:rPr lang="de-DE" smtClean="0"/>
              <a:t>10.02.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14934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zit recht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7987183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der Folie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1039FA2E-4698-4189-AC95-446D3E181F78}" type="datetime1">
              <a:rPr lang="de-DE" smtClean="0"/>
              <a:t>10.02.2025</a:t>
            </a:fld>
            <a:endParaRPr lang="de-DE"/>
          </a:p>
        </p:txBody>
      </p:sp>
      <p:sp>
        <p:nvSpPr>
          <p:cNvPr id="7" name="Textplatzhalter 4"/>
          <p:cNvSpPr>
            <a:spLocks noGrp="1"/>
          </p:cNvSpPr>
          <p:nvPr>
            <p:ph idx="1"/>
          </p:nvPr>
        </p:nvSpPr>
        <p:spPr>
          <a:xfrm>
            <a:off x="367162" y="883065"/>
            <a:ext cx="7976738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509000" y="0"/>
            <a:ext cx="3683000" cy="6858000"/>
          </a:xfrm>
          <a:prstGeom prst="rect">
            <a:avLst/>
          </a:prstGeo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 marL="0" indent="0">
              <a:buNone/>
              <a:defRPr lang="de-DE" sz="3200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>
              <a:defRPr lang="en-US" sz="22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</a:lstStyle>
          <a:p>
            <a:pPr lvl="0">
              <a:lnSpc>
                <a:spcPct val="90000"/>
              </a:lnSpc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Fazit 28pt </a:t>
            </a:r>
            <a:br>
              <a:rPr lang="de-DE" sz="3200"/>
            </a:br>
            <a:r>
              <a:rPr lang="de-DE" sz="3200"/>
              <a:t>Ergänzung 22pt</a:t>
            </a:r>
            <a:endParaRPr lang="en-US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7634362" y="6586538"/>
            <a:ext cx="792088" cy="215900"/>
          </a:xfrm>
          <a:prstGeom prst="rect">
            <a:avLst/>
          </a:prstGeom>
          <a:noFill/>
        </p:spPr>
        <p:txBody>
          <a:bodyPr wrap="square" lIns="72000" tIns="0" rIns="72000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8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0317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5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828800"/>
            <a:ext cx="9144000" cy="2500604"/>
          </a:xfrm>
        </p:spPr>
        <p:txBody>
          <a:bodyPr anchor="b">
            <a:normAutofit/>
          </a:bodyPr>
          <a:lstStyle>
            <a:lvl1pPr algn="ctr">
              <a:defRPr sz="4800" b="0">
                <a:solidFill>
                  <a:srgbClr val="0096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/>
          <a:lstStyle/>
          <a:p>
            <a:fld id="{F3B98CF4-4F8D-4D33-BA8C-B106C3C4C2EB}" type="slidenum">
              <a:rPr lang="de-DE" smtClean="0"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3426" y="331361"/>
            <a:ext cx="1869952" cy="1933960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5178342" y="6354259"/>
            <a:ext cx="216000" cy="216000"/>
          </a:xfrm>
          <a:prstGeom prst="rect">
            <a:avLst/>
          </a:prstGeom>
          <a:solidFill>
            <a:srgbClr val="0096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 userDrawn="1"/>
        </p:nvSpPr>
        <p:spPr>
          <a:xfrm>
            <a:off x="5705659" y="6354259"/>
            <a:ext cx="216000" cy="216000"/>
          </a:xfrm>
          <a:prstGeom prst="rect">
            <a:avLst/>
          </a:prstGeom>
          <a:solidFill>
            <a:srgbClr val="EF7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/>
          <p:cNvSpPr/>
          <p:nvPr userDrawn="1"/>
        </p:nvSpPr>
        <p:spPr>
          <a:xfrm>
            <a:off x="6232976" y="6354259"/>
            <a:ext cx="216000" cy="216000"/>
          </a:xfrm>
          <a:prstGeom prst="rect">
            <a:avLst/>
          </a:prstGeom>
          <a:solidFill>
            <a:srgbClr val="009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 userDrawn="1"/>
        </p:nvSpPr>
        <p:spPr>
          <a:xfrm>
            <a:off x="6760293" y="6359459"/>
            <a:ext cx="216000" cy="21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/>
              <a:t>Dateiname_V_x_y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63134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73020" y="2557820"/>
            <a:ext cx="10105053" cy="1092200"/>
          </a:xfrm>
        </p:spPr>
        <p:txBody>
          <a:bodyPr anchor="t">
            <a:normAutofit/>
          </a:bodyPr>
          <a:lstStyle>
            <a:lvl1pPr algn="ctr">
              <a:defRPr sz="3600" b="1">
                <a:solidFill>
                  <a:srgbClr val="009640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3B98CF4-4F8D-4D33-BA8C-B106C3C4C2E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92" y="365125"/>
            <a:ext cx="1056134" cy="1092710"/>
          </a:xfrm>
          <a:prstGeom prst="rect">
            <a:avLst/>
          </a:prstGeom>
        </p:spPr>
      </p:pic>
      <p:sp>
        <p:nvSpPr>
          <p:cNvPr id="9" name="Rechteck 8"/>
          <p:cNvSpPr/>
          <p:nvPr userDrawn="1"/>
        </p:nvSpPr>
        <p:spPr>
          <a:xfrm>
            <a:off x="11117212" y="6559417"/>
            <a:ext cx="151200" cy="151200"/>
          </a:xfrm>
          <a:prstGeom prst="rect">
            <a:avLst/>
          </a:prstGeom>
          <a:solidFill>
            <a:srgbClr val="0096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 userDrawn="1"/>
        </p:nvSpPr>
        <p:spPr>
          <a:xfrm>
            <a:off x="11366014" y="6559417"/>
            <a:ext cx="151200" cy="151200"/>
          </a:xfrm>
          <a:prstGeom prst="rect">
            <a:avLst/>
          </a:prstGeom>
          <a:solidFill>
            <a:srgbClr val="EF7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/>
          <p:cNvSpPr/>
          <p:nvPr userDrawn="1"/>
        </p:nvSpPr>
        <p:spPr>
          <a:xfrm>
            <a:off x="11619220" y="6559417"/>
            <a:ext cx="151200" cy="151200"/>
          </a:xfrm>
          <a:prstGeom prst="rect">
            <a:avLst/>
          </a:prstGeom>
          <a:solidFill>
            <a:srgbClr val="009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 userDrawn="1"/>
        </p:nvSpPr>
        <p:spPr>
          <a:xfrm>
            <a:off x="11872426" y="6559417"/>
            <a:ext cx="151200" cy="15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Dateiname_V_x_y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56931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3" y="365126"/>
            <a:ext cx="9782175" cy="1092200"/>
          </a:xfrm>
        </p:spPr>
        <p:txBody>
          <a:bodyPr anchor="t">
            <a:normAutofit/>
          </a:bodyPr>
          <a:lstStyle>
            <a:lvl1pPr>
              <a:defRPr sz="3600">
                <a:solidFill>
                  <a:srgbClr val="009640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4" y="1752604"/>
            <a:ext cx="9481454" cy="442436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3B98CF4-4F8D-4D33-BA8C-B106C3C4C2E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92" y="365125"/>
            <a:ext cx="1056134" cy="1092710"/>
          </a:xfrm>
          <a:prstGeom prst="rect">
            <a:avLst/>
          </a:prstGeom>
        </p:spPr>
      </p:pic>
      <p:sp>
        <p:nvSpPr>
          <p:cNvPr id="25" name="Rechteck 24"/>
          <p:cNvSpPr/>
          <p:nvPr userDrawn="1"/>
        </p:nvSpPr>
        <p:spPr>
          <a:xfrm>
            <a:off x="11117212" y="6559417"/>
            <a:ext cx="151200" cy="151200"/>
          </a:xfrm>
          <a:prstGeom prst="rect">
            <a:avLst/>
          </a:prstGeom>
          <a:solidFill>
            <a:srgbClr val="0096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/>
          <p:cNvSpPr/>
          <p:nvPr userDrawn="1"/>
        </p:nvSpPr>
        <p:spPr>
          <a:xfrm>
            <a:off x="11366014" y="6559417"/>
            <a:ext cx="151200" cy="151200"/>
          </a:xfrm>
          <a:prstGeom prst="rect">
            <a:avLst/>
          </a:prstGeom>
          <a:solidFill>
            <a:srgbClr val="EF7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/>
          <p:cNvSpPr/>
          <p:nvPr userDrawn="1"/>
        </p:nvSpPr>
        <p:spPr>
          <a:xfrm>
            <a:off x="11619220" y="6559417"/>
            <a:ext cx="151200" cy="151200"/>
          </a:xfrm>
          <a:prstGeom prst="rect">
            <a:avLst/>
          </a:prstGeom>
          <a:solidFill>
            <a:srgbClr val="009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Rechteck 27"/>
          <p:cNvSpPr/>
          <p:nvPr userDrawn="1"/>
        </p:nvSpPr>
        <p:spPr>
          <a:xfrm>
            <a:off x="11872426" y="6559417"/>
            <a:ext cx="151200" cy="15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Dateiname_V_x_y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64696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>
          <a:xfrm>
            <a:off x="10776445" y="6586539"/>
            <a:ext cx="974879" cy="215900"/>
          </a:xfrm>
          <a:prstGeom prst="rect">
            <a:avLst/>
          </a:prstGeom>
          <a:noFill/>
        </p:spPr>
        <p:txBody>
          <a:bodyPr wrap="square" lIns="71991" tIns="0" rIns="71991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7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127448" y="1809750"/>
            <a:ext cx="8505825" cy="1439863"/>
          </a:xfrm>
          <a:prstGeom prst="rect">
            <a:avLst/>
          </a:prstGeom>
        </p:spPr>
        <p:txBody>
          <a:bodyPr lIns="72000" tIns="72000" rIns="72000" bIns="72000" anchor="b"/>
          <a:lstStyle>
            <a:lvl1pPr marL="0" indent="0">
              <a:buNone/>
              <a:defRPr sz="40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itel durch Klicken hinzufügen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27448" y="3463487"/>
            <a:ext cx="8505825" cy="1439863"/>
          </a:xfrm>
          <a:prstGeom prst="rect">
            <a:avLst/>
          </a:prstGeom>
        </p:spPr>
        <p:txBody>
          <a:bodyPr lIns="72000" tIns="72000" rIns="72000" bIns="72000" anchor="t"/>
          <a:lstStyle>
            <a:lvl1pPr marL="0" indent="0">
              <a:buNone/>
              <a:defRPr sz="1800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Untertitel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8076314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verzeichnis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563788" y="1193260"/>
            <a:ext cx="8774253" cy="432112"/>
          </a:xfrm>
          <a:prstGeom prst="rect">
            <a:avLst/>
          </a:prstGeom>
          <a:solidFill>
            <a:schemeClr val="bg2"/>
          </a:solidFill>
          <a:ln w="19050">
            <a:solidFill>
              <a:schemeClr val="bg2"/>
            </a:solidFill>
            <a:miter lim="800000"/>
          </a:ln>
          <a:effectLst/>
        </p:spPr>
        <p:txBody>
          <a:bodyPr lIns="90000" tIns="46800" rIns="90000" bIns="468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360000" y="260352"/>
            <a:ext cx="9853477" cy="42321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 eaLnBrk="1" hangingPunct="1">
              <a:lnSpc>
                <a:spcPct val="90000"/>
              </a:lnSpc>
              <a:defRPr sz="22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2pPr>
            <a:lvl3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3pPr>
            <a:lvl4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4pPr>
            <a:lvl5pPr eaLnBrk="1" hangingPunct="1">
              <a:lnSpc>
                <a:spcPct val="80000"/>
              </a:lnSpc>
              <a:defRPr sz="2200" b="1">
                <a:solidFill>
                  <a:schemeClr val="tx2"/>
                </a:solidFill>
              </a:defRPr>
            </a:lvl5pPr>
            <a:lvl6pPr marL="457148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6pPr>
            <a:lvl7pPr marL="914296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7pPr>
            <a:lvl8pPr marL="1371445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8pPr>
            <a:lvl9pPr marL="1828592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Agenda</a:t>
            </a:r>
          </a:p>
        </p:txBody>
      </p:sp>
      <p:sp>
        <p:nvSpPr>
          <p:cNvPr id="11" name="Textplatzhalter 19"/>
          <p:cNvSpPr>
            <a:spLocks noGrp="1"/>
          </p:cNvSpPr>
          <p:nvPr>
            <p:ph type="body" sz="quarter" idx="21"/>
          </p:nvPr>
        </p:nvSpPr>
        <p:spPr>
          <a:xfrm>
            <a:off x="1950106" y="1272890"/>
            <a:ext cx="8281079" cy="5224748"/>
          </a:xfrm>
          <a:prstGeom prst="rect">
            <a:avLst/>
          </a:prstGeom>
        </p:spPr>
        <p:txBody>
          <a:bodyPr/>
          <a:lstStyle>
            <a:lvl1pPr marL="222250" indent="-222250">
              <a:spcBef>
                <a:spcPts val="2600"/>
              </a:spcBef>
              <a:buClr>
                <a:schemeClr val="accent5"/>
              </a:buClr>
              <a:buFont typeface="Wingdings 3" panose="05040102010807070707" pitchFamily="18" charset="2"/>
              <a:buChar char="}"/>
              <a:defRPr b="1">
                <a:solidFill>
                  <a:schemeClr val="tx2"/>
                </a:solidFill>
              </a:defRPr>
            </a:lvl1pPr>
            <a:lvl2pPr marL="468000" indent="-234000">
              <a:spcBef>
                <a:spcPts val="2600"/>
              </a:spcBef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2pPr>
            <a:lvl3pPr marL="447675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6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4039C0B8-B1F0-4FBD-AA2C-E26EFE6C7356}" type="datetime1">
              <a:rPr lang="de-DE" smtClean="0"/>
              <a:t>10.02.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92449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CA8DDA4D-A8F7-4443-A77D-789511B5EB3A}" type="datetime1">
              <a:rPr lang="de-DE" smtClean="0"/>
              <a:t>10.02.2025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9709821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6E94541A-C6B4-4EF0-BBEB-BFFB77ABA42C}" type="datetime1">
              <a:rPr lang="de-DE" smtClean="0"/>
              <a:t>10.02.2025</a:t>
            </a:fld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FE8B661-9EDB-4882-8AED-6D297DA4A9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362" y="883066"/>
            <a:ext cx="11469239" cy="42890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72343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18A7AA8E-2E9F-478A-84BD-F9E117719A62}" type="datetime1">
              <a:rPr lang="de-DE" smtClean="0"/>
              <a:t>10.02.2025</a:t>
            </a:fld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4622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EA0ACD97-81CA-4881-94C5-3FBFE0195F54}" type="datetime1">
              <a:rPr lang="de-DE" smtClean="0"/>
              <a:t>10.02.2025</a:t>
            </a:fld>
            <a:endParaRPr lang="de-DE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90053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28CFEBA3-BA1D-47FA-8942-7CC589171648}" type="datetime1">
              <a:rPr lang="de-DE" smtClean="0"/>
              <a:t>10.02.2025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231393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887836B8-E8D6-42B8-BBAA-FA9064AAD924}" type="datetime1">
              <a:rPr lang="de-DE" smtClean="0"/>
              <a:t>10.02.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3236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923920DA-4B5F-480A-A981-EB27A490BCCD}" type="datetime1">
              <a:rPr lang="de-DE" smtClean="0"/>
              <a:t>10.02.2025</a:t>
            </a:fld>
            <a:endParaRPr lang="de-DE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3147288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200A06F8-BA91-4C84-89A4-D327C6BE5A70}" type="datetime1">
              <a:rPr lang="de-DE" smtClean="0"/>
              <a:t>10.02.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8357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3715113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3135784"/>
            <a:ext cx="3716336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3135784"/>
            <a:ext cx="3713524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A261BC15-FA59-4340-AD94-AAE171BA92EB}" type="datetime1">
              <a:rPr lang="de-DE" smtClean="0"/>
              <a:t>10.02.2025</a:t>
            </a:fld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4237039" y="884238"/>
            <a:ext cx="3716336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8113713" y="884238"/>
            <a:ext cx="3715113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/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393485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nebeneinander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8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B1DC142C-48B6-44A2-A73D-93A7B41AB0CC}" type="datetime1">
              <a:rPr lang="de-DE" smtClean="0"/>
              <a:t>10.02.2025</a:t>
            </a:fld>
            <a:endParaRPr lang="de-DE"/>
          </a:p>
        </p:txBody>
      </p:sp>
      <p:sp>
        <p:nvSpPr>
          <p:cNvPr id="20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9472"/>
            <a:ext cx="3715113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Inhaltsplatzhalter 10"/>
          <p:cNvSpPr>
            <a:spLocks noGrp="1"/>
          </p:cNvSpPr>
          <p:nvPr>
            <p:ph sz="quarter" idx="15"/>
          </p:nvPr>
        </p:nvSpPr>
        <p:spPr>
          <a:xfrm>
            <a:off x="4237039" y="889472"/>
            <a:ext cx="3716336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Inhaltsplatzhalter 10"/>
          <p:cNvSpPr>
            <a:spLocks noGrp="1"/>
          </p:cNvSpPr>
          <p:nvPr>
            <p:ph sz="quarter" idx="16"/>
          </p:nvPr>
        </p:nvSpPr>
        <p:spPr>
          <a:xfrm>
            <a:off x="8115302" y="889472"/>
            <a:ext cx="3713524" cy="429847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98915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70">
          <p15:clr>
            <a:srgbClr val="FBAE40"/>
          </p15:clr>
        </p15:guide>
        <p15:guide id="3" pos="2667">
          <p15:clr>
            <a:srgbClr val="FBAE40"/>
          </p15:clr>
        </p15:guide>
        <p15:guide id="4" pos="5010">
          <p15:clr>
            <a:srgbClr val="FBAE40"/>
          </p15:clr>
        </p15:guide>
        <p15:guide id="5" pos="5111">
          <p15:clr>
            <a:srgbClr val="FBAE40"/>
          </p15:clr>
        </p15:guide>
        <p15:guide id="6" orient="horz" pos="327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59998" y="884237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3267341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4684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7CB0EFBF-BE5B-4C4B-ACF4-6FEA02635C7D}" type="datetime1">
              <a:rPr lang="de-DE" smtClean="0"/>
              <a:t>10.02.2025</a:t>
            </a:fld>
            <a:endParaRPr lang="de-DE"/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3267341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174684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4" name="Inhaltsplatzhalter 10"/>
          <p:cNvSpPr>
            <a:spLocks noGrp="1"/>
          </p:cNvSpPr>
          <p:nvPr>
            <p:ph sz="quarter" idx="19"/>
          </p:nvPr>
        </p:nvSpPr>
        <p:spPr>
          <a:xfrm>
            <a:off x="9082027" y="3135784"/>
            <a:ext cx="27468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Bildplatzhalter 6"/>
          <p:cNvSpPr>
            <a:spLocks noGrp="1"/>
          </p:cNvSpPr>
          <p:nvPr>
            <p:ph type="pic" sz="quarter" idx="20" hasCustomPrompt="1"/>
          </p:nvPr>
        </p:nvSpPr>
        <p:spPr>
          <a:xfrm>
            <a:off x="9082027" y="884238"/>
            <a:ext cx="27468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808535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3">
          <p15:clr>
            <a:srgbClr val="FBAE40"/>
          </p15:clr>
        </p15:guide>
        <p15:guide id="2" pos="5626">
          <p15:clr>
            <a:srgbClr val="FBAE40"/>
          </p15:clr>
        </p15:guide>
        <p15:guide id="4" pos="5717">
          <p15:clr>
            <a:srgbClr val="FBAE40"/>
          </p15:clr>
        </p15:guide>
        <p15:guide id="5" pos="3840">
          <p15:clr>
            <a:srgbClr val="FBAE40"/>
          </p15:clr>
        </p15:guide>
        <p15:guide id="6" pos="2054">
          <p15:clr>
            <a:srgbClr val="FBAE40"/>
          </p15:clr>
        </p15:guide>
        <p15:guide id="7" pos="3789">
          <p15:clr>
            <a:srgbClr val="FBAE40"/>
          </p15:clr>
        </p15:guide>
        <p15:guide id="8" pos="3890">
          <p15:clr>
            <a:srgbClr val="FBAE40"/>
          </p15:clr>
        </p15:guide>
        <p15:guide id="10" orient="horz" pos="1973">
          <p15:clr>
            <a:srgbClr val="FBAE40"/>
          </p15:clr>
        </p15:guide>
        <p15:guide id="11" orient="horz" pos="187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Drittel, ein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7" y="884237"/>
            <a:ext cx="759337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4850" y="884238"/>
            <a:ext cx="3715200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BBDABA1D-60BF-40A0-A0E4-534DE2F4CE24}" type="datetime1">
              <a:rPr lang="de-DE" smtClean="0"/>
              <a:t>10.02.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6292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 Drittel, zwei Dr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4237039" y="884238"/>
            <a:ext cx="7594654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D812B75C-CDC0-4F25-BACA-2E0EF0C37439}" type="datetime1">
              <a:rPr lang="de-DE" smtClean="0"/>
              <a:t>10.02.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66343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7">
          <p15:clr>
            <a:srgbClr val="FBAE40"/>
          </p15:clr>
        </p15:guide>
        <p15:guide id="2" pos="2669">
          <p15:clr>
            <a:srgbClr val="FBAE40"/>
          </p15:clr>
        </p15:guide>
        <p15:guide id="3" pos="5009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FAA81C2A-5F1D-4493-9DD9-28448BF8D943}" type="datetime1">
              <a:rPr lang="de-DE" smtClean="0"/>
              <a:t>10.02.2025</a:t>
            </a:fld>
            <a:endParaRPr lang="de-DE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/>
          </p:nvPr>
        </p:nvSpPr>
        <p:spPr>
          <a:xfrm>
            <a:off x="359999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10"/>
          <p:cNvSpPr>
            <a:spLocks noGrp="1"/>
          </p:cNvSpPr>
          <p:nvPr>
            <p:ph sz="quarter" idx="15"/>
          </p:nvPr>
        </p:nvSpPr>
        <p:spPr>
          <a:xfrm>
            <a:off x="6180502" y="884239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10"/>
          <p:cNvSpPr>
            <a:spLocks noGrp="1"/>
          </p:cNvSpPr>
          <p:nvPr>
            <p:ph sz="quarter" idx="16"/>
          </p:nvPr>
        </p:nvSpPr>
        <p:spPr>
          <a:xfrm>
            <a:off x="6180138" y="3770313"/>
            <a:ext cx="5652000" cy="27241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65299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273">
          <p15:clr>
            <a:srgbClr val="FBAE40"/>
          </p15:clr>
        </p15:guide>
        <p15:guide id="8" orient="horz" pos="2375">
          <p15:clr>
            <a:srgbClr val="FBAE40"/>
          </p15:clr>
        </p15:guide>
        <p15:guide id="9" pos="3840">
          <p15:clr>
            <a:srgbClr val="FBAE40"/>
          </p15:clr>
        </p15:guide>
        <p15:guide id="10" pos="3788">
          <p15:clr>
            <a:srgbClr val="FBAE40"/>
          </p15:clr>
        </p15:guide>
        <p15:guide id="11" pos="3893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BF9DC088-2DEB-49FC-90FA-E0F44A2D99B0}" type="datetime1">
              <a:rPr lang="de-DE" smtClean="0"/>
              <a:t>10.02.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55460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A2B0D1CC-B3B3-4218-AC83-27BF878CFF9C}" type="datetime1">
              <a:rPr lang="de-DE" smtClean="0"/>
              <a:t>10.02.2025</a:t>
            </a:fld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FE8B661-9EDB-4882-8AED-6D297DA4A9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362" y="883066"/>
            <a:ext cx="11469239" cy="42890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019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EC1228DA-FFA4-40B1-B1B2-7A4F3EA39A3D}" type="datetime1">
              <a:rPr lang="de-DE" smtClean="0"/>
              <a:t>10.02.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76762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Blau, Verschwommen, Electric Blue (Farbe), Majorelle Blue enthält.&#10;&#10;Automatisch generierte Beschreibung">
            <a:extLst>
              <a:ext uri="{FF2B5EF4-FFF2-40B4-BE49-F238E27FC236}">
                <a16:creationId xmlns:a16="http://schemas.microsoft.com/office/drawing/2014/main" id="{FF1A4076-8CF8-D13E-704C-AF006A0F37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9" y="0"/>
            <a:ext cx="12191102" cy="68580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7A859244-BCEE-E3C1-7FB7-38A33037896E}"/>
              </a:ext>
            </a:extLst>
          </p:cNvPr>
          <p:cNvSpPr/>
          <p:nvPr userDrawn="1"/>
        </p:nvSpPr>
        <p:spPr bwMode="gray">
          <a:xfrm>
            <a:off x="0" y="0"/>
            <a:ext cx="12191551" cy="6857999"/>
          </a:xfrm>
          <a:prstGeom prst="rect">
            <a:avLst/>
          </a:prstGeom>
          <a:solidFill>
            <a:srgbClr val="25346D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/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15719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link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3689350" cy="6858000"/>
          </a:xfrm>
          <a:prstGeom prst="rect">
            <a:avLst/>
          </a:prstGeo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>
              <a:defRPr lang="de-DE" sz="2800" b="0" baseline="0" dirty="0">
                <a:solidFill>
                  <a:schemeClr val="bg1"/>
                </a:solidFill>
              </a:defRPr>
            </a:lvl1pPr>
          </a:lstStyle>
          <a:p>
            <a:pPr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Überschrift 28pt </a:t>
            </a:r>
            <a:br>
              <a:rPr lang="de-DE" sz="3200"/>
            </a:br>
            <a:r>
              <a:rPr lang="de-DE" sz="3200"/>
              <a:t>Unterüberschrift 22pt</a:t>
            </a:r>
            <a:endParaRPr lang="de-DE" sz="280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372297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9" name="Rectangle 3"/>
          <p:cNvSpPr>
            <a:spLocks noGrp="1"/>
          </p:cNvSpPr>
          <p:nvPr>
            <p:ph type="dt" sz="half" idx="2"/>
          </p:nvPr>
        </p:nvSpPr>
        <p:spPr>
          <a:xfrm>
            <a:off x="3851351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2FB31C34-9236-4CA9-AE3E-8D69E57374FA}" type="datetime1">
              <a:rPr lang="de-DE" smtClean="0"/>
              <a:t>10.02.2025</a:t>
            </a:fld>
            <a:endParaRPr lang="de-DE"/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3851351" y="883065"/>
            <a:ext cx="7978250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C332B66-E88F-4ECA-B1FB-A175BDDDDB1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302255" cy="425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237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24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zit rechts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7987183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der Folie durch Klicken bearbeiten</a:t>
            </a:r>
          </a:p>
        </p:txBody>
      </p:sp>
      <p:sp>
        <p:nvSpPr>
          <p:cNvPr id="14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15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49C33D9B-C82B-4033-BC9F-4FF5F6DA3D1F}" type="datetime1">
              <a:rPr lang="de-DE" smtClean="0"/>
              <a:t>10.02.2025</a:t>
            </a:fld>
            <a:endParaRPr lang="de-DE"/>
          </a:p>
        </p:txBody>
      </p:sp>
      <p:sp>
        <p:nvSpPr>
          <p:cNvPr id="7" name="Textplatzhalter 4"/>
          <p:cNvSpPr>
            <a:spLocks noGrp="1"/>
          </p:cNvSpPr>
          <p:nvPr>
            <p:ph idx="1"/>
          </p:nvPr>
        </p:nvSpPr>
        <p:spPr>
          <a:xfrm>
            <a:off x="367162" y="883065"/>
            <a:ext cx="7976738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509000" y="0"/>
            <a:ext cx="3683000" cy="6858000"/>
          </a:xfrm>
          <a:prstGeom prst="rect">
            <a:avLst/>
          </a:prstGeom>
          <a:solidFill>
            <a:schemeClr val="tx2"/>
          </a:solidFill>
        </p:spPr>
        <p:txBody>
          <a:bodyPr vert="horz" lIns="360000" tIns="900000" rIns="360000" bIns="0" rtlCol="0" anchor="t">
            <a:noAutofit/>
          </a:bodyPr>
          <a:lstStyle>
            <a:lvl1pPr marL="0" indent="0">
              <a:buNone/>
              <a:defRPr lang="de-DE" sz="3200" baseline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>
              <a:defRPr lang="de-DE" sz="2200" b="1" smtClean="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>
              <a:defRPr lang="en-US" sz="22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</a:lstStyle>
          <a:p>
            <a:pPr lvl="0">
              <a:lnSpc>
                <a:spcPct val="90000"/>
              </a:lnSpc>
              <a:spcBef>
                <a:spcPts val="300"/>
              </a:spcBef>
              <a:spcAft>
                <a:spcPts val="100"/>
              </a:spcAft>
            </a:pPr>
            <a:r>
              <a:rPr lang="de-DE" sz="3200"/>
              <a:t>Fazit 28pt </a:t>
            </a:r>
            <a:br>
              <a:rPr lang="de-DE" sz="3200"/>
            </a:br>
            <a:r>
              <a:rPr lang="de-DE" sz="3200"/>
              <a:t>Ergänzung 22pt</a:t>
            </a:r>
            <a:endParaRPr lang="en-US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3930" y="262167"/>
            <a:ext cx="1299600" cy="425360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7634362" y="6586538"/>
            <a:ext cx="792088" cy="215900"/>
          </a:xfrm>
          <a:prstGeom prst="rect">
            <a:avLst/>
          </a:prstGeom>
          <a:noFill/>
        </p:spPr>
        <p:txBody>
          <a:bodyPr wrap="square" lIns="72000" tIns="0" rIns="72000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8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71900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5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828800"/>
            <a:ext cx="9144000" cy="2500604"/>
          </a:xfrm>
        </p:spPr>
        <p:txBody>
          <a:bodyPr anchor="b">
            <a:normAutofit/>
          </a:bodyPr>
          <a:lstStyle>
            <a:lvl1pPr algn="ctr">
              <a:defRPr sz="4800" b="0">
                <a:solidFill>
                  <a:srgbClr val="0096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B98CF4-4F8D-4D33-BA8C-B106C3C4C2EB}" type="slidenum">
              <a:rPr lang="de-DE" smtClean="0"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3426" y="331361"/>
            <a:ext cx="1869952" cy="1933960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5178342" y="6354259"/>
            <a:ext cx="216000" cy="216000"/>
          </a:xfrm>
          <a:prstGeom prst="rect">
            <a:avLst/>
          </a:prstGeom>
          <a:solidFill>
            <a:srgbClr val="0096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 userDrawn="1"/>
        </p:nvSpPr>
        <p:spPr>
          <a:xfrm>
            <a:off x="5705659" y="6354259"/>
            <a:ext cx="216000" cy="216000"/>
          </a:xfrm>
          <a:prstGeom prst="rect">
            <a:avLst/>
          </a:prstGeom>
          <a:solidFill>
            <a:srgbClr val="EF7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/>
          <p:cNvSpPr/>
          <p:nvPr userDrawn="1"/>
        </p:nvSpPr>
        <p:spPr>
          <a:xfrm>
            <a:off x="6232976" y="6354259"/>
            <a:ext cx="216000" cy="216000"/>
          </a:xfrm>
          <a:prstGeom prst="rect">
            <a:avLst/>
          </a:prstGeom>
          <a:solidFill>
            <a:srgbClr val="009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 userDrawn="1"/>
        </p:nvSpPr>
        <p:spPr>
          <a:xfrm>
            <a:off x="6760293" y="6359459"/>
            <a:ext cx="216000" cy="21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Dateiname_V_x_y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280717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-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73020" y="2557820"/>
            <a:ext cx="10105053" cy="1092200"/>
          </a:xfrm>
        </p:spPr>
        <p:txBody>
          <a:bodyPr anchor="t">
            <a:normAutofit/>
          </a:bodyPr>
          <a:lstStyle>
            <a:lvl1pPr algn="ctr">
              <a:defRPr sz="3600" b="1">
                <a:solidFill>
                  <a:srgbClr val="009640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3B98CF4-4F8D-4D33-BA8C-B106C3C4C2E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92" y="365125"/>
            <a:ext cx="1056134" cy="1092710"/>
          </a:xfrm>
          <a:prstGeom prst="rect">
            <a:avLst/>
          </a:prstGeom>
        </p:spPr>
      </p:pic>
      <p:sp>
        <p:nvSpPr>
          <p:cNvPr id="9" name="Rechteck 8"/>
          <p:cNvSpPr/>
          <p:nvPr userDrawn="1"/>
        </p:nvSpPr>
        <p:spPr>
          <a:xfrm>
            <a:off x="11117212" y="6559417"/>
            <a:ext cx="151200" cy="151200"/>
          </a:xfrm>
          <a:prstGeom prst="rect">
            <a:avLst/>
          </a:prstGeom>
          <a:solidFill>
            <a:srgbClr val="0096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 userDrawn="1"/>
        </p:nvSpPr>
        <p:spPr>
          <a:xfrm>
            <a:off x="11366014" y="6559417"/>
            <a:ext cx="151200" cy="151200"/>
          </a:xfrm>
          <a:prstGeom prst="rect">
            <a:avLst/>
          </a:prstGeom>
          <a:solidFill>
            <a:srgbClr val="EF7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/>
          <p:cNvSpPr/>
          <p:nvPr userDrawn="1"/>
        </p:nvSpPr>
        <p:spPr>
          <a:xfrm>
            <a:off x="11619220" y="6559417"/>
            <a:ext cx="151200" cy="151200"/>
          </a:xfrm>
          <a:prstGeom prst="rect">
            <a:avLst/>
          </a:prstGeom>
          <a:solidFill>
            <a:srgbClr val="009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 userDrawn="1"/>
        </p:nvSpPr>
        <p:spPr>
          <a:xfrm>
            <a:off x="11872426" y="6559417"/>
            <a:ext cx="151200" cy="15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ateiname_V_x_y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844410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3" y="365126"/>
            <a:ext cx="9782175" cy="1092200"/>
          </a:xfrm>
        </p:spPr>
        <p:txBody>
          <a:bodyPr anchor="t">
            <a:normAutofit/>
          </a:bodyPr>
          <a:lstStyle>
            <a:lvl1pPr>
              <a:defRPr sz="3600">
                <a:solidFill>
                  <a:srgbClr val="009640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4" y="1752604"/>
            <a:ext cx="9481454" cy="442436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3B98CF4-4F8D-4D33-BA8C-B106C3C4C2E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92" y="365125"/>
            <a:ext cx="1056134" cy="1092710"/>
          </a:xfrm>
          <a:prstGeom prst="rect">
            <a:avLst/>
          </a:prstGeom>
        </p:spPr>
      </p:pic>
      <p:sp>
        <p:nvSpPr>
          <p:cNvPr id="25" name="Rechteck 24"/>
          <p:cNvSpPr/>
          <p:nvPr userDrawn="1"/>
        </p:nvSpPr>
        <p:spPr>
          <a:xfrm>
            <a:off x="11117212" y="6559417"/>
            <a:ext cx="151200" cy="151200"/>
          </a:xfrm>
          <a:prstGeom prst="rect">
            <a:avLst/>
          </a:prstGeom>
          <a:solidFill>
            <a:srgbClr val="0096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/>
          <p:cNvSpPr/>
          <p:nvPr userDrawn="1"/>
        </p:nvSpPr>
        <p:spPr>
          <a:xfrm>
            <a:off x="11366014" y="6559417"/>
            <a:ext cx="151200" cy="151200"/>
          </a:xfrm>
          <a:prstGeom prst="rect">
            <a:avLst/>
          </a:prstGeom>
          <a:solidFill>
            <a:srgbClr val="EF7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/>
          <p:cNvSpPr/>
          <p:nvPr userDrawn="1"/>
        </p:nvSpPr>
        <p:spPr>
          <a:xfrm>
            <a:off x="11619220" y="6559417"/>
            <a:ext cx="151200" cy="151200"/>
          </a:xfrm>
          <a:prstGeom prst="rect">
            <a:avLst/>
          </a:prstGeom>
          <a:solidFill>
            <a:srgbClr val="009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Rechteck 27"/>
          <p:cNvSpPr/>
          <p:nvPr userDrawn="1"/>
        </p:nvSpPr>
        <p:spPr>
          <a:xfrm>
            <a:off x="11872426" y="6559417"/>
            <a:ext cx="151200" cy="15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Dateiname_V_x_y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22150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21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3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803BBE8A-8016-4B2D-84AE-D3CC3542FDEB}" type="datetime1">
              <a:rPr lang="de-DE" smtClean="0"/>
              <a:t>10.02.2025</a:t>
            </a:fld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384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mit Konsequ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5334000"/>
            <a:ext cx="12192000" cy="152400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txBody>
          <a:bodyPr lIns="864000" tIns="360000" rIns="360000" bIns="540000"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Fazit/Konsequenz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36363" y="5815987"/>
            <a:ext cx="1008000" cy="360000"/>
          </a:xfrm>
          <a:prstGeom prst="triangl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 marL="234000" indent="0">
              <a:buNone/>
              <a:defRPr/>
            </a:lvl2pPr>
            <a:lvl3pPr marL="468637" indent="0">
              <a:buNone/>
              <a:defRPr/>
            </a:lvl3pPr>
            <a:lvl4pPr marL="756000" indent="0">
              <a:buNone/>
              <a:defRPr/>
            </a:lvl4pPr>
            <a:lvl5pPr marL="972000" indent="0">
              <a:buNone/>
              <a:defRPr/>
            </a:lvl5pPr>
          </a:lstStyle>
          <a:p>
            <a:pPr lvl="0"/>
            <a:r>
              <a:rPr lang="de-DE"/>
              <a:t> .</a:t>
            </a:r>
            <a:endParaRPr lang="en-US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2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4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FD3A37A9-7883-4E29-AD81-F1A146BADF4C}" type="datetime1">
              <a:rPr lang="de-DE" smtClean="0"/>
              <a:t>10.02.2025</a:t>
            </a:fld>
            <a:endParaRPr lang="de-DE"/>
          </a:p>
        </p:txBody>
      </p:sp>
      <p:sp>
        <p:nvSpPr>
          <p:cNvPr id="14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9"/>
            <a:ext cx="5653451" cy="428783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42878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29640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58">
          <p15:clr>
            <a:srgbClr val="FBAE40"/>
          </p15:clr>
        </p15:guide>
        <p15:guide id="2" pos="3840">
          <p15:clr>
            <a:srgbClr val="FBAE40"/>
          </p15:clr>
        </p15:guide>
        <p15:guide id="3" pos="3890">
          <p15:clr>
            <a:srgbClr val="FBAE40"/>
          </p15:clr>
        </p15:guide>
        <p15:guide id="4" pos="378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5653451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884238"/>
            <a:ext cx="5656317" cy="56137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0703B41E-4B04-426D-B33A-8ABB0C31781E}" type="datetime1">
              <a:rPr lang="de-DE" smtClean="0"/>
              <a:t>10.02.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0472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&amp; Bild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60001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6175375" y="3135784"/>
            <a:ext cx="5652000" cy="336221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CB3B74F8-7AAE-4F89-8DBB-F3F8D215EFD5}" type="datetime1">
              <a:rPr lang="de-DE" smtClean="0"/>
              <a:t>10.02.2025</a:t>
            </a:fld>
            <a:endParaRPr lang="de-DE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360000" y="884237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884236"/>
            <a:ext cx="5652000" cy="2089547"/>
          </a:xfrm>
          <a:prstGeom prst="rect">
            <a:avLst/>
          </a:pr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tIns="252000" anchor="t" anchorCtr="0">
            <a:noAutofit/>
          </a:bodyPr>
          <a:lstStyle>
            <a:lvl1pPr marL="0" indent="0" algn="ctr">
              <a:buNone/>
              <a:defRPr sz="1600"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381089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90">
          <p15:clr>
            <a:srgbClr val="FBAE40"/>
          </p15:clr>
        </p15:guide>
        <p15:guide id="2" pos="3788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0"/>
          <p:cNvSpPr>
            <a:spLocks noGrp="1"/>
          </p:cNvSpPr>
          <p:nvPr>
            <p:ph sz="quarter" idx="13"/>
          </p:nvPr>
        </p:nvSpPr>
        <p:spPr>
          <a:xfrm>
            <a:off x="359999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0"/>
          <p:cNvSpPr>
            <a:spLocks noGrp="1"/>
          </p:cNvSpPr>
          <p:nvPr>
            <p:ph sz="quarter" idx="15"/>
          </p:nvPr>
        </p:nvSpPr>
        <p:spPr>
          <a:xfrm>
            <a:off x="4237038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Inhaltsplatzhalter 10"/>
          <p:cNvSpPr>
            <a:spLocks noGrp="1"/>
          </p:cNvSpPr>
          <p:nvPr>
            <p:ph sz="quarter" idx="16"/>
          </p:nvPr>
        </p:nvSpPr>
        <p:spPr>
          <a:xfrm>
            <a:off x="8113713" y="884238"/>
            <a:ext cx="3715113" cy="56137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258762"/>
            <a:ext cx="10017435" cy="424800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 dirty="0"/>
              <a:t>Überschrift (22pt) durch Klicken bearbeiten</a:t>
            </a:r>
          </a:p>
        </p:txBody>
      </p:sp>
      <p:sp>
        <p:nvSpPr>
          <p:cNvPr id="19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4951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4851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A147590A-C516-4729-BA13-2D61B343F902}" type="datetime1">
              <a:rPr lang="de-DE" smtClean="0"/>
              <a:t>10.02.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1558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68">
          <p15:clr>
            <a:srgbClr val="FBAE40"/>
          </p15:clr>
        </p15:guide>
        <p15:guide id="2" pos="2669">
          <p15:clr>
            <a:srgbClr val="FBAE40"/>
          </p15:clr>
        </p15:guide>
        <p15:guide id="3" pos="5010">
          <p15:clr>
            <a:srgbClr val="FBAE40"/>
          </p15:clr>
        </p15:guide>
        <p15:guide id="4" pos="511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jpg"/><Relationship Id="rId30" Type="http://schemas.openxmlformats.org/officeDocument/2006/relationships/oleObject" Target="../embeddings/oleObject2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oleObject" Target="../embeddings/oleObject2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 descr="Ein Bild, das Blau, Verschwommen, Electric Blue (Farbe), Majorelle Blue enthält.&#10;&#10;Automatisch generierte Beschreibung">
            <a:extLst>
              <a:ext uri="{FF2B5EF4-FFF2-40B4-BE49-F238E27FC236}">
                <a16:creationId xmlns:a16="http://schemas.microsoft.com/office/drawing/2014/main" id="{A1DD0A72-4D6B-9E73-25DC-A839D622470A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449" y="0"/>
            <a:ext cx="12191102" cy="6858000"/>
          </a:xfrm>
          <a:prstGeom prst="rect">
            <a:avLst/>
          </a:prstGeo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F84FCDCD-A082-6386-7789-315C6971F9A9}"/>
              </a:ext>
            </a:extLst>
          </p:cNvPr>
          <p:cNvSpPr/>
          <p:nvPr userDrawn="1"/>
        </p:nvSpPr>
        <p:spPr bwMode="gray">
          <a:xfrm>
            <a:off x="0" y="0"/>
            <a:ext cx="12191551" cy="6810177"/>
          </a:xfrm>
          <a:prstGeom prst="rect">
            <a:avLst/>
          </a:prstGeom>
          <a:solidFill>
            <a:srgbClr val="25346D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/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60" imgH="360" progId="TCLayout.ActiveDocument.1">
                  <p:embed/>
                </p:oleObj>
              </mc:Choice>
              <mc:Fallback>
                <p:oleObj name="think-cell Folie" r:id="rId28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849529" cy="428625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0" imgW="360" imgH="360" progId="TCLayout.ActiveDocument.1">
                  <p:embed/>
                </p:oleObj>
              </mc:Choice>
              <mc:Fallback>
                <p:oleObj name="think-cell Folie" r:id="rId30" imgW="360" imgH="36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Symbol, Leuchtturm enthält.&#10;&#10;Automatisch generierte Beschreibung">
            <a:extLst>
              <a:ext uri="{FF2B5EF4-FFF2-40B4-BE49-F238E27FC236}">
                <a16:creationId xmlns:a16="http://schemas.microsoft.com/office/drawing/2014/main" id="{97621234-0DBE-161E-17AC-D99C3857B46F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11138500" y="257175"/>
            <a:ext cx="691550" cy="977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856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  <p:sldLayoutId id="2147483986" r:id="rId5"/>
    <p:sldLayoutId id="2147483987" r:id="rId6"/>
    <p:sldLayoutId id="2147483988" r:id="rId7"/>
    <p:sldLayoutId id="2147483989" r:id="rId8"/>
    <p:sldLayoutId id="2147483990" r:id="rId9"/>
    <p:sldLayoutId id="2147483991" r:id="rId10"/>
    <p:sldLayoutId id="2147483992" r:id="rId11"/>
    <p:sldLayoutId id="2147483993" r:id="rId12"/>
    <p:sldLayoutId id="2147483994" r:id="rId13"/>
    <p:sldLayoutId id="2147483995" r:id="rId14"/>
    <p:sldLayoutId id="2147483996" r:id="rId15"/>
    <p:sldLayoutId id="2147483997" r:id="rId16"/>
    <p:sldLayoutId id="2147483998" r:id="rId17"/>
    <p:sldLayoutId id="2147483999" r:id="rId18"/>
    <p:sldLayoutId id="2147484000" r:id="rId19"/>
    <p:sldLayoutId id="2147484001" r:id="rId20"/>
    <p:sldLayoutId id="2147484002" r:id="rId21"/>
    <p:sldLayoutId id="2147484003" r:id="rId22"/>
    <p:sldLayoutId id="2147484004" r:id="rId23"/>
  </p:sldLayoutIdLst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5pPr>
      <a:lvl6pPr marL="457148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296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44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59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33363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bg1"/>
        </a:buClr>
        <a:buFont typeface="Wingdings 2" panose="05020102010507070707" pitchFamily="18" charset="2"/>
        <a:buChar char=""/>
        <a:defRPr lang="de-DE" b="0" kern="1200" noProof="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468000" indent="-23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bg1"/>
        </a:buClr>
        <a:buSzPct val="90000"/>
        <a:buFont typeface="Wingdings 3" pitchFamily="18" charset="2"/>
        <a:buChar char=""/>
        <a:tabLst/>
        <a:defRPr lang="de-DE" b="0" kern="1200" noProof="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702000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bg1"/>
        </a:buClr>
        <a:buSzPct val="100000"/>
        <a:buFont typeface="Wingdings" pitchFamily="2" charset="2"/>
        <a:buChar char="§"/>
        <a:defRPr lang="de-DE" sz="1600" b="0" kern="1200" noProof="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936000" indent="-180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bg1"/>
        </a:buClr>
        <a:buFont typeface="Arial" charset="0"/>
        <a:buChar char="–"/>
        <a:defRPr lang="de-DE" sz="1400" b="0" kern="1200" noProof="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116000" indent="-14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bg1"/>
        </a:buClr>
        <a:buFont typeface="Arial" charset="0"/>
        <a:buChar char="•"/>
        <a:defRPr lang="de-DE" sz="1200" b="0" kern="1200" noProof="0" dirty="0" smtClean="0">
          <a:solidFill>
            <a:schemeClr val="bg1"/>
          </a:solidFill>
          <a:latin typeface="+mn-lt"/>
          <a:ea typeface="+mn-ea"/>
          <a:cs typeface="+mn-cs"/>
        </a:defRPr>
      </a:lvl5pPr>
      <a:lvl6pPr marL="2159754" indent="-359959" algn="l" defTabSz="914296" rtl="0" eaLnBrk="1" latinLnBrk="0" hangingPunct="1">
        <a:lnSpc>
          <a:spcPct val="100000"/>
        </a:lnSpc>
        <a:spcBef>
          <a:spcPts val="300"/>
        </a:spcBef>
        <a:spcAft>
          <a:spcPts val="100"/>
        </a:spcAft>
        <a:buClr>
          <a:schemeClr val="tx2"/>
        </a:buClr>
        <a:buFont typeface="Arial" pitchFamily="34" charset="0"/>
        <a:buChar char="•"/>
        <a:defRPr lang="de-DE" sz="1200" b="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432">
          <p15:clr>
            <a:srgbClr val="547EBF"/>
          </p15:clr>
        </p15:guide>
        <p15:guide id="8" orient="horz" pos="164" userDrawn="1">
          <p15:clr>
            <a:srgbClr val="547EBF"/>
          </p15:clr>
        </p15:guide>
        <p15:guide id="9" orient="horz" pos="557">
          <p15:clr>
            <a:srgbClr val="547EBF"/>
          </p15:clr>
        </p15:guide>
        <p15:guide id="10" pos="227">
          <p15:clr>
            <a:srgbClr val="547EBF"/>
          </p15:clr>
        </p15:guide>
        <p15:guide id="11" pos="7452">
          <p15:clr>
            <a:srgbClr val="547EBF"/>
          </p15:clr>
        </p15:guide>
        <p15:guide id="17" orient="horz" pos="4094">
          <p15:clr>
            <a:srgbClr val="547EBF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30"/>
          <p:cNvSpPr>
            <a:spLocks noChangeArrowheads="1"/>
          </p:cNvSpPr>
          <p:nvPr/>
        </p:nvSpPr>
        <p:spPr bwMode="gray">
          <a:xfrm>
            <a:off x="11049000" y="6594277"/>
            <a:ext cx="386912" cy="2159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/>
          <a:lstStyle/>
          <a:p>
            <a:pPr algn="r" fontAlgn="auto">
              <a:defRPr/>
            </a:pPr>
            <a:r>
              <a:rPr lang="de-DE" sz="700">
                <a:solidFill>
                  <a:schemeClr val="accent2"/>
                </a:solidFill>
                <a:latin typeface="+mn-lt"/>
                <a:cs typeface="+mn-cs"/>
              </a:rPr>
              <a:t> © UNITY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881309" y="6586539"/>
            <a:ext cx="5012928" cy="215900"/>
          </a:xfrm>
          <a:prstGeom prst="rect">
            <a:avLst/>
          </a:prstGeom>
        </p:spPr>
        <p:txBody>
          <a:bodyPr vert="horz" lIns="0" tIns="45715" rIns="91429" bIns="45715" rtlCol="0" anchor="ctr"/>
          <a:lstStyle>
            <a:lvl1pPr algn="l">
              <a:defRPr sz="700">
                <a:solidFill>
                  <a:schemeClr val="accent2"/>
                </a:solidFill>
              </a:defRPr>
            </a:lvl1pPr>
          </a:lstStyle>
          <a:p>
            <a:r>
              <a:rPr lang="de-DE"/>
              <a:t>Dateiname_V_x_y.pptx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11463338" y="6586542"/>
            <a:ext cx="366712" cy="215901"/>
          </a:xfrm>
          <a:prstGeom prst="rect">
            <a:avLst/>
          </a:prstGeom>
        </p:spPr>
        <p:txBody>
          <a:bodyPr vert="horz" lIns="91429" tIns="45715" rIns="0" bIns="45715" rtlCol="0" anchor="ctr"/>
          <a:lstStyle>
            <a:lvl1pPr algn="r">
              <a:defRPr sz="700">
                <a:solidFill>
                  <a:schemeClr val="accent2"/>
                </a:solidFill>
              </a:defRPr>
            </a:lvl1pPr>
          </a:lstStyle>
          <a:p>
            <a:fld id="{369A084B-84B6-4F15-B0F5-CCDC4176846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Rectangle 3"/>
          <p:cNvSpPr>
            <a:spLocks noGrp="1"/>
          </p:cNvSpPr>
          <p:nvPr>
            <p:ph type="dt" sz="half" idx="2"/>
          </p:nvPr>
        </p:nvSpPr>
        <p:spPr>
          <a:xfrm>
            <a:off x="360363" y="6586439"/>
            <a:ext cx="493866" cy="216000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1" latinLnBrk="0" hangingPunct="1">
              <a:defRPr kumimoji="0" lang="de-DE" sz="700">
                <a:solidFill>
                  <a:schemeClr val="accent2"/>
                </a:solidFill>
              </a:defRPr>
            </a:lvl1pPr>
            <a:extLst/>
          </a:lstStyle>
          <a:p>
            <a:fld id="{E83B596E-F5EF-4819-9729-7C150AF59036}" type="datetime1">
              <a:rPr lang="de-DE" smtClean="0"/>
              <a:t>10.02.2025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360362" y="883065"/>
            <a:ext cx="11469239" cy="56149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itelplatzhalter 6"/>
          <p:cNvSpPr>
            <a:spLocks noGrp="1"/>
          </p:cNvSpPr>
          <p:nvPr>
            <p:ph type="title"/>
          </p:nvPr>
        </p:nvSpPr>
        <p:spPr>
          <a:xfrm>
            <a:off x="360000" y="257175"/>
            <a:ext cx="9849529" cy="428625"/>
          </a:xfrm>
          <a:prstGeom prst="rect">
            <a:avLst/>
          </a:prstGeom>
        </p:spPr>
        <p:txBody>
          <a:bodyPr vert="horz" lIns="0" tIns="72000" rIns="0" bIns="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9" imgW="360" imgH="360" progId="TCLayout.ActiveDocument.1">
                  <p:embed/>
                </p:oleObj>
              </mc:Choice>
              <mc:Fallback>
                <p:oleObj name="think-cell Folie" r:id="rId29" imgW="360" imgH="36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/>
        </p:nvSpPr>
        <p:spPr>
          <a:xfrm>
            <a:off x="9987804" y="6586538"/>
            <a:ext cx="792088" cy="215900"/>
          </a:xfrm>
          <a:prstGeom prst="rect">
            <a:avLst/>
          </a:prstGeom>
          <a:noFill/>
        </p:spPr>
        <p:txBody>
          <a:bodyPr wrap="square" lIns="72000" tIns="0" rIns="72000" bIns="0" rtlCol="0" anchor="ctr">
            <a:noAutofit/>
          </a:bodyPr>
          <a:lstStyle/>
          <a:p>
            <a:pPr marL="0" indent="0" algn="r">
              <a:spcBef>
                <a:spcPts val="300"/>
              </a:spcBef>
              <a:spcAft>
                <a:spcPts val="10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en-US" sz="800" kern="1200" noProof="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04422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6" r:id="rId1"/>
    <p:sldLayoutId id="2147484007" r:id="rId2"/>
    <p:sldLayoutId id="2147484008" r:id="rId3"/>
    <p:sldLayoutId id="2147484009" r:id="rId4"/>
    <p:sldLayoutId id="2147484010" r:id="rId5"/>
    <p:sldLayoutId id="2147484011" r:id="rId6"/>
    <p:sldLayoutId id="2147484012" r:id="rId7"/>
    <p:sldLayoutId id="2147484013" r:id="rId8"/>
    <p:sldLayoutId id="2147484014" r:id="rId9"/>
    <p:sldLayoutId id="2147484015" r:id="rId10"/>
    <p:sldLayoutId id="2147484016" r:id="rId11"/>
    <p:sldLayoutId id="2147484017" r:id="rId12"/>
    <p:sldLayoutId id="2147484018" r:id="rId13"/>
    <p:sldLayoutId id="2147484019" r:id="rId14"/>
    <p:sldLayoutId id="2147484020" r:id="rId15"/>
    <p:sldLayoutId id="2147484021" r:id="rId16"/>
    <p:sldLayoutId id="2147484022" r:id="rId17"/>
    <p:sldLayoutId id="2147484023" r:id="rId18"/>
    <p:sldLayoutId id="2147484024" r:id="rId19"/>
    <p:sldLayoutId id="2147484025" r:id="rId20"/>
    <p:sldLayoutId id="2147484026" r:id="rId21"/>
    <p:sldLayoutId id="2147484027" r:id="rId22"/>
    <p:sldLayoutId id="2147484028" r:id="rId23"/>
  </p:sldLayoutIdLst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5pPr>
      <a:lvl6pPr marL="457148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296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445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59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33363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bg1"/>
        </a:buClr>
        <a:buFont typeface="Wingdings 2" panose="05020102010507070707" pitchFamily="18" charset="2"/>
        <a:buChar char=""/>
        <a:defRPr lang="de-DE" b="0" kern="1200" noProof="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468000" indent="-23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bg1"/>
        </a:buClr>
        <a:buSzPct val="90000"/>
        <a:buFont typeface="Wingdings 3" pitchFamily="18" charset="2"/>
        <a:buChar char=""/>
        <a:tabLst/>
        <a:defRPr lang="de-DE" b="0" kern="1200" noProof="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702000" indent="-233363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bg1"/>
        </a:buClr>
        <a:buSzPct val="100000"/>
        <a:buFont typeface="Wingdings" pitchFamily="2" charset="2"/>
        <a:buChar char="§"/>
        <a:defRPr lang="de-DE" sz="1600" b="0" kern="1200" noProof="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936000" indent="-180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bg1"/>
        </a:buClr>
        <a:buFont typeface="Arial" charset="0"/>
        <a:buChar char="–"/>
        <a:defRPr lang="de-DE" sz="1400" b="0" kern="1200" noProof="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116000" indent="-144000" algn="l" rtl="0" eaLnBrk="1" fontAlgn="base" hangingPunct="1">
        <a:lnSpc>
          <a:spcPct val="100000"/>
        </a:lnSpc>
        <a:spcBef>
          <a:spcPts val="600"/>
        </a:spcBef>
        <a:spcAft>
          <a:spcPts val="200"/>
        </a:spcAft>
        <a:buClr>
          <a:schemeClr val="bg1"/>
        </a:buClr>
        <a:buFont typeface="Arial" charset="0"/>
        <a:buChar char="•"/>
        <a:defRPr lang="de-DE" sz="1200" b="0" kern="1200" noProof="0" dirty="0" smtClean="0">
          <a:solidFill>
            <a:schemeClr val="bg1"/>
          </a:solidFill>
          <a:latin typeface="+mn-lt"/>
          <a:ea typeface="+mn-ea"/>
          <a:cs typeface="+mn-cs"/>
        </a:defRPr>
      </a:lvl5pPr>
      <a:lvl6pPr marL="2159754" indent="-359959" algn="l" defTabSz="914296" rtl="0" eaLnBrk="1" latinLnBrk="0" hangingPunct="1">
        <a:lnSpc>
          <a:spcPct val="100000"/>
        </a:lnSpc>
        <a:spcBef>
          <a:spcPts val="300"/>
        </a:spcBef>
        <a:spcAft>
          <a:spcPts val="100"/>
        </a:spcAft>
        <a:buClr>
          <a:schemeClr val="tx2"/>
        </a:buClr>
        <a:buFont typeface="Arial" pitchFamily="34" charset="0"/>
        <a:buChar char="•"/>
        <a:defRPr lang="de-DE" sz="1200" b="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91429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432">
          <p15:clr>
            <a:srgbClr val="547EBF"/>
          </p15:clr>
        </p15:guide>
        <p15:guide id="8" orient="horz" pos="162">
          <p15:clr>
            <a:srgbClr val="547EBF"/>
          </p15:clr>
        </p15:guide>
        <p15:guide id="9" orient="horz" pos="557">
          <p15:clr>
            <a:srgbClr val="547EBF"/>
          </p15:clr>
        </p15:guide>
        <p15:guide id="10" pos="227">
          <p15:clr>
            <a:srgbClr val="547EBF"/>
          </p15:clr>
        </p15:guide>
        <p15:guide id="11" pos="7452">
          <p15:clr>
            <a:srgbClr val="547EBF"/>
          </p15:clr>
        </p15:guide>
        <p15:guide id="17" orient="horz" pos="4094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mit-helfen.de/start/" TargetMode="External"/><Relationship Id="rId2" Type="http://schemas.openxmlformats.org/officeDocument/2006/relationships/hyperlink" Target="https://digitaledoerfer-support.de/" TargetMode="Externa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2F003441-FAEE-56BE-3062-8E2946D664A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-2352" t="-1" r="-16315" b="-1866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/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CE94B0A-8D19-72B7-5DA2-749D3BC548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4394" y="2709067"/>
            <a:ext cx="6815437" cy="1439863"/>
          </a:xfrm>
        </p:spPr>
        <p:txBody>
          <a:bodyPr/>
          <a:lstStyle/>
          <a:p>
            <a:r>
              <a:rPr lang="de-DE" sz="4400" dirty="0"/>
              <a:t>Schulungsunterlage</a:t>
            </a:r>
          </a:p>
          <a:p>
            <a:r>
              <a:rPr lang="de-DE" sz="2800" b="0" dirty="0"/>
              <a:t>22.07.2024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5B668F26-F662-35E2-DEF2-1FB75044BAA9}"/>
              </a:ext>
            </a:extLst>
          </p:cNvPr>
          <p:cNvCxnSpPr>
            <a:cxnSpLocks/>
          </p:cNvCxnSpPr>
          <p:nvPr/>
        </p:nvCxnSpPr>
        <p:spPr>
          <a:xfrm flipV="1">
            <a:off x="576739" y="1998423"/>
            <a:ext cx="0" cy="286115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 descr="Ein Bild, das Symbol, Leuchtturm enthält.&#10;&#10;Automatisch generierte Beschreibung">
            <a:extLst>
              <a:ext uri="{FF2B5EF4-FFF2-40B4-BE49-F238E27FC236}">
                <a16:creationId xmlns:a16="http://schemas.microsoft.com/office/drawing/2014/main" id="{1FA4B5DD-A3D9-B523-0AA7-E64411A2E2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6445" y="257175"/>
            <a:ext cx="1053605" cy="1488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7837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8C9992-2266-178F-6E29-CC7AE0C8AF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F7263F0-C7F9-9173-4E67-7551A0A786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Dateiname_V_x_y.pptx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692A2B5-51D1-0AEA-22F0-629CE5E77E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A114821-28E3-C7A1-BC33-C918DE89054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2CC1BED-48D0-405B-A379-F7700AEFB13C}" type="datetime1">
              <a:rPr lang="de-DE" smtClean="0"/>
              <a:t>10.02.2025</a:t>
            </a:fld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B59A67F-196C-93AC-ED64-068208653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363" y="1055388"/>
            <a:ext cx="5611230" cy="2933706"/>
          </a:xfrm>
        </p:spPr>
        <p:txBody>
          <a:bodyPr/>
          <a:lstStyle/>
          <a:p>
            <a:r>
              <a:rPr lang="de-DE" dirty="0"/>
              <a:t>Weitere Infos und detailliertere Anleitungen gibt es hier: </a:t>
            </a:r>
            <a:r>
              <a:rPr lang="de-DE" dirty="0">
                <a:solidFill>
                  <a:srgbClr val="0CC6E8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igitale Dörfer – Support und Dokumentation (digitaledoerfer-support.de)</a:t>
            </a:r>
            <a:endParaRPr lang="de-DE" dirty="0">
              <a:solidFill>
                <a:srgbClr val="0CC6E8"/>
              </a:solidFill>
            </a:endParaRPr>
          </a:p>
          <a:p>
            <a:r>
              <a:rPr lang="de-DE" dirty="0"/>
              <a:t>Alte Seite:</a:t>
            </a:r>
            <a:r>
              <a:rPr lang="de-DE" dirty="0">
                <a:solidFill>
                  <a:srgbClr val="0CC6E8"/>
                </a:solidFill>
              </a:rPr>
              <a:t> </a:t>
            </a:r>
            <a:r>
              <a:rPr lang="de-DE" dirty="0">
                <a:solidFill>
                  <a:srgbClr val="0CC6E8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rt (mit-helfen.de)</a:t>
            </a:r>
            <a:endParaRPr lang="de-DE" dirty="0">
              <a:solidFill>
                <a:srgbClr val="0CC6E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7960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2CA700-77D9-4D00-8C34-3AF568C59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hboard Übersich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75E9410-B4C3-D613-6F22-58A420CD8D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Dateiname_V_x_y.pptx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C12ADF-E536-3582-1FF8-15B3221E5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B09A2B0-4109-B3E5-34DF-BD89DAAE92F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2CC1BED-48D0-405B-A379-F7700AEFB13C}" type="datetime1">
              <a:rPr lang="de-DE" smtClean="0"/>
              <a:t>10.02.2025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5D77496-55A3-8177-3269-A138A9926A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95" y="1075312"/>
            <a:ext cx="1111959" cy="5117689"/>
          </a:xfrm>
          <a:prstGeom prst="rect">
            <a:avLst/>
          </a:prstGeom>
        </p:spPr>
      </p:pic>
      <p:sp>
        <p:nvSpPr>
          <p:cNvPr id="6" name="Sprechblase: rechteckig 5">
            <a:extLst>
              <a:ext uri="{FF2B5EF4-FFF2-40B4-BE49-F238E27FC236}">
                <a16:creationId xmlns:a16="http://schemas.microsoft.com/office/drawing/2014/main" id="{60F29FD7-833F-8FBB-A84A-2D34DB991C79}"/>
              </a:ext>
            </a:extLst>
          </p:cNvPr>
          <p:cNvSpPr/>
          <p:nvPr/>
        </p:nvSpPr>
        <p:spPr bwMode="gray">
          <a:xfrm>
            <a:off x="2212516" y="1831385"/>
            <a:ext cx="1851483" cy="263481"/>
          </a:xfrm>
          <a:prstGeom prst="wedgeRectCallout">
            <a:avLst>
              <a:gd name="adj1" fmla="val -107935"/>
              <a:gd name="adj2" fmla="val 107227"/>
            </a:avLst>
          </a:prstGeom>
          <a:solidFill>
            <a:srgbClr val="0CC6E8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t"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000000"/>
                </a:solidFill>
              </a:rPr>
              <a:t>Übersicht der Medien</a:t>
            </a:r>
          </a:p>
        </p:txBody>
      </p:sp>
      <p:sp>
        <p:nvSpPr>
          <p:cNvPr id="10" name="Sprechblase: rechteckig 9">
            <a:extLst>
              <a:ext uri="{FF2B5EF4-FFF2-40B4-BE49-F238E27FC236}">
                <a16:creationId xmlns:a16="http://schemas.microsoft.com/office/drawing/2014/main" id="{452200E2-44F4-54F3-CEEF-B8BAB8B4E8B5}"/>
              </a:ext>
            </a:extLst>
          </p:cNvPr>
          <p:cNvSpPr/>
          <p:nvPr/>
        </p:nvSpPr>
        <p:spPr bwMode="gray">
          <a:xfrm>
            <a:off x="2212516" y="2176668"/>
            <a:ext cx="1851483" cy="263481"/>
          </a:xfrm>
          <a:prstGeom prst="wedgeRectCallout">
            <a:avLst>
              <a:gd name="adj1" fmla="val -110179"/>
              <a:gd name="adj2" fmla="val 60010"/>
            </a:avLst>
          </a:prstGeom>
          <a:solidFill>
            <a:srgbClr val="0CC6E8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t"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000000"/>
                </a:solidFill>
              </a:rPr>
              <a:t>Übersicht der Hauptseiten</a:t>
            </a:r>
          </a:p>
        </p:txBody>
      </p:sp>
      <p:sp>
        <p:nvSpPr>
          <p:cNvPr id="11" name="Sprechblase: rechteckig 10">
            <a:extLst>
              <a:ext uri="{FF2B5EF4-FFF2-40B4-BE49-F238E27FC236}">
                <a16:creationId xmlns:a16="http://schemas.microsoft.com/office/drawing/2014/main" id="{19DA0E87-B67F-6D53-BBA9-5F880E701723}"/>
              </a:ext>
            </a:extLst>
          </p:cNvPr>
          <p:cNvSpPr/>
          <p:nvPr/>
        </p:nvSpPr>
        <p:spPr bwMode="gray">
          <a:xfrm>
            <a:off x="2212517" y="2521951"/>
            <a:ext cx="1851483" cy="263481"/>
          </a:xfrm>
          <a:prstGeom prst="wedgeRectCallout">
            <a:avLst>
              <a:gd name="adj1" fmla="val -104376"/>
              <a:gd name="adj2" fmla="val 22236"/>
            </a:avLst>
          </a:prstGeom>
          <a:solidFill>
            <a:srgbClr val="0CC6E8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t"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000000"/>
                </a:solidFill>
              </a:rPr>
              <a:t>Übersicht der Aktuellen Themen</a:t>
            </a:r>
          </a:p>
        </p:txBody>
      </p:sp>
      <p:sp>
        <p:nvSpPr>
          <p:cNvPr id="12" name="Sprechblase: rechteckig 11">
            <a:extLst>
              <a:ext uri="{FF2B5EF4-FFF2-40B4-BE49-F238E27FC236}">
                <a16:creationId xmlns:a16="http://schemas.microsoft.com/office/drawing/2014/main" id="{09EA748B-1324-B708-DD85-6E76A5C62439}"/>
              </a:ext>
            </a:extLst>
          </p:cNvPr>
          <p:cNvSpPr/>
          <p:nvPr/>
        </p:nvSpPr>
        <p:spPr bwMode="gray">
          <a:xfrm>
            <a:off x="2212516" y="2867234"/>
            <a:ext cx="1851483" cy="310148"/>
          </a:xfrm>
          <a:prstGeom prst="wedgeRectCallout">
            <a:avLst>
              <a:gd name="adj1" fmla="val -99029"/>
              <a:gd name="adj2" fmla="val 74174"/>
            </a:avLst>
          </a:prstGeom>
          <a:solidFill>
            <a:srgbClr val="0CC6E8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t"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000000"/>
                </a:solidFill>
              </a:rPr>
              <a:t>Übersicht über Vereine und Sehenswürdigkeiten in Steckbriefform</a:t>
            </a:r>
          </a:p>
        </p:txBody>
      </p:sp>
      <p:sp>
        <p:nvSpPr>
          <p:cNvPr id="13" name="Sprechblase: rechteckig 12">
            <a:extLst>
              <a:ext uri="{FF2B5EF4-FFF2-40B4-BE49-F238E27FC236}">
                <a16:creationId xmlns:a16="http://schemas.microsoft.com/office/drawing/2014/main" id="{B0B93DFF-93BA-404E-54D9-EB118C3D67C3}"/>
              </a:ext>
            </a:extLst>
          </p:cNvPr>
          <p:cNvSpPr/>
          <p:nvPr/>
        </p:nvSpPr>
        <p:spPr bwMode="gray">
          <a:xfrm>
            <a:off x="2212516" y="3212517"/>
            <a:ext cx="1851483" cy="263481"/>
          </a:xfrm>
          <a:prstGeom prst="wedgeRectCallout">
            <a:avLst>
              <a:gd name="adj1" fmla="val -92238"/>
              <a:gd name="adj2" fmla="val 24596"/>
            </a:avLst>
          </a:prstGeom>
          <a:solidFill>
            <a:srgbClr val="0CC6E8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t"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000000"/>
                </a:solidFill>
              </a:rPr>
              <a:t>Veranstaltungskalender</a:t>
            </a:r>
          </a:p>
        </p:txBody>
      </p:sp>
      <p:sp>
        <p:nvSpPr>
          <p:cNvPr id="14" name="Sprechblase: rechteckig 13">
            <a:extLst>
              <a:ext uri="{FF2B5EF4-FFF2-40B4-BE49-F238E27FC236}">
                <a16:creationId xmlns:a16="http://schemas.microsoft.com/office/drawing/2014/main" id="{22F8993E-EA88-266E-6838-AF464A5740DA}"/>
              </a:ext>
            </a:extLst>
          </p:cNvPr>
          <p:cNvSpPr/>
          <p:nvPr/>
        </p:nvSpPr>
        <p:spPr bwMode="gray">
          <a:xfrm>
            <a:off x="2212516" y="3557801"/>
            <a:ext cx="1851483" cy="263481"/>
          </a:xfrm>
          <a:prstGeom prst="wedgeRectCallout">
            <a:avLst>
              <a:gd name="adj1" fmla="val -101158"/>
              <a:gd name="adj2" fmla="val -13177"/>
            </a:avLst>
          </a:prstGeom>
          <a:solidFill>
            <a:srgbClr val="0CC6E8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t"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000000"/>
                </a:solidFill>
              </a:rPr>
              <a:t>Ausführliche Vereinsseiten</a:t>
            </a:r>
          </a:p>
        </p:txBody>
      </p:sp>
    </p:spTree>
    <p:extLst>
      <p:ext uri="{BB962C8B-B14F-4D97-AF65-F5344CB8AC3E}">
        <p14:creationId xmlns:p14="http://schemas.microsoft.com/office/powerpoint/2010/main" val="8459124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CFB197-5966-BE00-C737-1460721233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dien Übersich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E538450-9FA7-03D7-AF4D-6C34D302DE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Dateiname_V_x_y.pptx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17CFEEE-2CA8-E185-F82E-70C7473D0A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43B5847-40D9-E457-BCF4-A381327526B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2CC1BED-48D0-405B-A379-F7700AEFB13C}" type="datetime1">
              <a:rPr lang="de-DE" smtClean="0"/>
              <a:t>10.02.2025</a:t>
            </a:fld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DDA9A12-82D8-5BB0-F6A1-4DA2F0A47B24}"/>
              </a:ext>
            </a:extLst>
          </p:cNvPr>
          <p:cNvSpPr txBox="1"/>
          <p:nvPr/>
        </p:nvSpPr>
        <p:spPr>
          <a:xfrm>
            <a:off x="6917095" y="1141190"/>
            <a:ext cx="4820816" cy="1128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bg1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Ordner mit separater Unterordnung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bg1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de-DE" sz="1800" dirty="0">
                <a:solidFill>
                  <a:schemeClr val="bg1"/>
                </a:solidFill>
                <a:latin typeface="Arial"/>
                <a:cs typeface="Arial"/>
              </a:rPr>
              <a:t>Auf Dateibenennung achten</a:t>
            </a: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bg1"/>
              </a:buClr>
              <a:buSzTx/>
              <a:buFont typeface="Wingdings" panose="05000000000000000000" pitchFamily="2" charset="2"/>
              <a:buChar char="§"/>
              <a:tabLst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481A1F9-F298-F5FE-7181-B7D9E31A6E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089" y="2041449"/>
            <a:ext cx="8142514" cy="4207500"/>
          </a:xfrm>
          <a:prstGeom prst="rect">
            <a:avLst/>
          </a:prstGeom>
        </p:spPr>
      </p:pic>
      <p:sp>
        <p:nvSpPr>
          <p:cNvPr id="11" name="Sprechblase: rechteckig 10">
            <a:extLst>
              <a:ext uri="{FF2B5EF4-FFF2-40B4-BE49-F238E27FC236}">
                <a16:creationId xmlns:a16="http://schemas.microsoft.com/office/drawing/2014/main" id="{3F9CE923-7E44-447F-9A33-F73304708AD2}"/>
              </a:ext>
            </a:extLst>
          </p:cNvPr>
          <p:cNvSpPr/>
          <p:nvPr/>
        </p:nvSpPr>
        <p:spPr bwMode="gray">
          <a:xfrm>
            <a:off x="2889379" y="1318705"/>
            <a:ext cx="1334278" cy="424800"/>
          </a:xfrm>
          <a:prstGeom prst="wedgeRectCallout">
            <a:avLst>
              <a:gd name="adj1" fmla="val -40833"/>
              <a:gd name="adj2" fmla="val 130486"/>
            </a:avLst>
          </a:prstGeom>
          <a:solidFill>
            <a:srgbClr val="0CC6E8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t"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000000"/>
                </a:solidFill>
              </a:rPr>
              <a:t>Medien hinzufügen oder über Drag-and-Drop</a:t>
            </a:r>
          </a:p>
        </p:txBody>
      </p:sp>
    </p:spTree>
    <p:extLst>
      <p:ext uri="{BB962C8B-B14F-4D97-AF65-F5344CB8AC3E}">
        <p14:creationId xmlns:p14="http://schemas.microsoft.com/office/powerpoint/2010/main" val="30810498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81F04D-0565-2E90-7516-A7CF5D28EB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uelles Beitra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AAAF6F7-A29A-7948-AA04-488A06B23C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Dateiname_V_x_y.pptx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07E60CF-E194-9F49-09D5-E8A54F00A9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FB02A76-0532-2308-739F-944D98A5417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2CC1BED-48D0-405B-A379-F7700AEFB13C}" type="datetime1">
              <a:rPr lang="de-DE" smtClean="0"/>
              <a:t>10.02.2025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4D9DDD3-57BD-E118-E48E-91ADA4C545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1511" y="1153907"/>
            <a:ext cx="1819275" cy="189547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7D53BFA-F1DB-A3A4-CFF2-BA466F15AC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1148" y="3283113"/>
            <a:ext cx="6095999" cy="3028608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741C2238-B7C3-DECC-99AA-A30C297C4EBB}"/>
              </a:ext>
            </a:extLst>
          </p:cNvPr>
          <p:cNvSpPr txBox="1"/>
          <p:nvPr/>
        </p:nvSpPr>
        <p:spPr>
          <a:xfrm>
            <a:off x="6348327" y="1602049"/>
            <a:ext cx="5843673" cy="1025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de-DE" sz="1800" dirty="0">
                <a:solidFill>
                  <a:schemeClr val="bg1"/>
                </a:solidFill>
                <a:latin typeface="Arial"/>
                <a:cs typeface="Arial"/>
              </a:rPr>
              <a:t>Kann in </a:t>
            </a:r>
            <a:r>
              <a:rPr lang="de-DE" sz="1800" dirty="0" err="1">
                <a:solidFill>
                  <a:schemeClr val="bg1"/>
                </a:solidFill>
                <a:latin typeface="Arial"/>
                <a:cs typeface="Arial"/>
              </a:rPr>
              <a:t>DorfFunk</a:t>
            </a:r>
            <a:r>
              <a:rPr lang="de-DE" sz="1800" dirty="0">
                <a:solidFill>
                  <a:schemeClr val="bg1"/>
                </a:solidFill>
                <a:latin typeface="Arial"/>
                <a:cs typeface="Arial"/>
              </a:rPr>
              <a:t>-App gespiegelt werden</a:t>
            </a:r>
          </a:p>
          <a:p>
            <a:pPr marL="285750" indent="-285750">
              <a:spcBef>
                <a:spcPts val="600"/>
              </a:spcBef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de-DE" sz="1800" dirty="0">
                <a:solidFill>
                  <a:schemeClr val="bg1"/>
                </a:solidFill>
                <a:latin typeface="Arial"/>
                <a:cs typeface="Arial"/>
              </a:rPr>
              <a:t>Nach circa einem Monat manuell von „Aktuelles“ entfernen!</a:t>
            </a:r>
          </a:p>
        </p:txBody>
      </p:sp>
      <p:sp>
        <p:nvSpPr>
          <p:cNvPr id="11" name="Sprechblase: rechteckig 10">
            <a:extLst>
              <a:ext uri="{FF2B5EF4-FFF2-40B4-BE49-F238E27FC236}">
                <a16:creationId xmlns:a16="http://schemas.microsoft.com/office/drawing/2014/main" id="{7C391792-ACE9-1163-9EDD-889D91A0DA9A}"/>
              </a:ext>
            </a:extLst>
          </p:cNvPr>
          <p:cNvSpPr/>
          <p:nvPr/>
        </p:nvSpPr>
        <p:spPr bwMode="gray">
          <a:xfrm>
            <a:off x="7909249" y="4018384"/>
            <a:ext cx="911290" cy="347306"/>
          </a:xfrm>
          <a:prstGeom prst="wedgeRectCallout">
            <a:avLst>
              <a:gd name="adj1" fmla="val -88633"/>
              <a:gd name="adj2" fmla="val 36735"/>
            </a:avLst>
          </a:prstGeom>
          <a:solidFill>
            <a:srgbClr val="0CC6E8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t"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000000"/>
                </a:solidFill>
              </a:rPr>
              <a:t>In </a:t>
            </a:r>
            <a:r>
              <a:rPr lang="de-DE" sz="800" dirty="0" err="1">
                <a:solidFill>
                  <a:srgbClr val="000000"/>
                </a:solidFill>
              </a:rPr>
              <a:t>Droffunk</a:t>
            </a:r>
            <a:r>
              <a:rPr lang="de-DE" sz="800" dirty="0">
                <a:solidFill>
                  <a:srgbClr val="000000"/>
                </a:solidFill>
              </a:rPr>
              <a:t>-App veröffentlichen</a:t>
            </a:r>
          </a:p>
        </p:txBody>
      </p:sp>
    </p:spTree>
    <p:extLst>
      <p:ext uri="{BB962C8B-B14F-4D97-AF65-F5344CB8AC3E}">
        <p14:creationId xmlns:p14="http://schemas.microsoft.com/office/powerpoint/2010/main" val="42893456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79111A-C244-05A4-B945-3F7D2C2AD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xtfens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F4A4ED1-2933-FC8A-59C6-BC7BF700B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Dateiname_V_x_y.pptx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BD143E5-F6EC-A038-0A2F-729162851B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E8E247A-21C4-844E-ACA3-ADF525C0D14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2CC1BED-48D0-405B-A379-F7700AEFB13C}" type="datetime1">
              <a:rPr lang="de-DE" smtClean="0"/>
              <a:t>10.02.2025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6558D62-E682-8C64-0ECE-C2DCAE7BA6E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" t="13459" r="69883" b="69914"/>
          <a:stretch/>
        </p:blipFill>
        <p:spPr>
          <a:xfrm>
            <a:off x="5411898" y="2630556"/>
            <a:ext cx="5822159" cy="1596888"/>
          </a:xfrm>
          <a:prstGeom prst="rect">
            <a:avLst/>
          </a:prstGeom>
        </p:spPr>
      </p:pic>
      <p:sp>
        <p:nvSpPr>
          <p:cNvPr id="8" name="Sprechblase: rechteckig 7">
            <a:extLst>
              <a:ext uri="{FF2B5EF4-FFF2-40B4-BE49-F238E27FC236}">
                <a16:creationId xmlns:a16="http://schemas.microsoft.com/office/drawing/2014/main" id="{415B66AF-464C-4398-51DF-9B3161B7CB16}"/>
              </a:ext>
            </a:extLst>
          </p:cNvPr>
          <p:cNvSpPr/>
          <p:nvPr/>
        </p:nvSpPr>
        <p:spPr bwMode="gray">
          <a:xfrm>
            <a:off x="6804332" y="2217823"/>
            <a:ext cx="780661" cy="210954"/>
          </a:xfrm>
          <a:prstGeom prst="wedgeRectCallout">
            <a:avLst>
              <a:gd name="adj1" fmla="val -14966"/>
              <a:gd name="adj2" fmla="val 492514"/>
            </a:avLst>
          </a:prstGeom>
          <a:solidFill>
            <a:srgbClr val="0CC6E8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t"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000000"/>
                </a:solidFill>
              </a:rPr>
              <a:t>Text fett</a:t>
            </a:r>
          </a:p>
        </p:txBody>
      </p:sp>
      <p:sp>
        <p:nvSpPr>
          <p:cNvPr id="9" name="Sprechblase: rechteckig 8">
            <a:extLst>
              <a:ext uri="{FF2B5EF4-FFF2-40B4-BE49-F238E27FC236}">
                <a16:creationId xmlns:a16="http://schemas.microsoft.com/office/drawing/2014/main" id="{BC82063E-B363-7C89-88E9-30E86E9E2693}"/>
              </a:ext>
            </a:extLst>
          </p:cNvPr>
          <p:cNvSpPr/>
          <p:nvPr/>
        </p:nvSpPr>
        <p:spPr bwMode="gray">
          <a:xfrm>
            <a:off x="5411898" y="2339503"/>
            <a:ext cx="939139" cy="210954"/>
          </a:xfrm>
          <a:prstGeom prst="wedgeRectCallout">
            <a:avLst>
              <a:gd name="adj1" fmla="val -15052"/>
              <a:gd name="adj2" fmla="val 248076"/>
            </a:avLst>
          </a:prstGeom>
          <a:solidFill>
            <a:srgbClr val="0CC6E8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t"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000000"/>
                </a:solidFill>
              </a:rPr>
              <a:t>Bilder hinzufügen</a:t>
            </a:r>
          </a:p>
        </p:txBody>
      </p:sp>
      <p:sp>
        <p:nvSpPr>
          <p:cNvPr id="10" name="Sprechblase: rechteckig 9">
            <a:extLst>
              <a:ext uri="{FF2B5EF4-FFF2-40B4-BE49-F238E27FC236}">
                <a16:creationId xmlns:a16="http://schemas.microsoft.com/office/drawing/2014/main" id="{738E1AFE-A29F-E27F-5F17-682E786CC5BC}"/>
              </a:ext>
            </a:extLst>
          </p:cNvPr>
          <p:cNvSpPr/>
          <p:nvPr/>
        </p:nvSpPr>
        <p:spPr bwMode="gray">
          <a:xfrm>
            <a:off x="6553201" y="4631003"/>
            <a:ext cx="780661" cy="291053"/>
          </a:xfrm>
          <a:prstGeom prst="wedgeRectCallout">
            <a:avLst>
              <a:gd name="adj1" fmla="val -57994"/>
              <a:gd name="adj2" fmla="val -258071"/>
            </a:avLst>
          </a:prstGeom>
          <a:solidFill>
            <a:srgbClr val="0CC6E8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t"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000000"/>
                </a:solidFill>
              </a:rPr>
              <a:t>Textfarbe</a:t>
            </a:r>
          </a:p>
        </p:txBody>
      </p:sp>
      <p:sp>
        <p:nvSpPr>
          <p:cNvPr id="11" name="Sprechblase: rechteckig 10">
            <a:extLst>
              <a:ext uri="{FF2B5EF4-FFF2-40B4-BE49-F238E27FC236}">
                <a16:creationId xmlns:a16="http://schemas.microsoft.com/office/drawing/2014/main" id="{086BFCC8-4703-182B-71AE-C396BFFD7349}"/>
              </a:ext>
            </a:extLst>
          </p:cNvPr>
          <p:cNvSpPr/>
          <p:nvPr/>
        </p:nvSpPr>
        <p:spPr bwMode="gray">
          <a:xfrm>
            <a:off x="5290600" y="4711898"/>
            <a:ext cx="780661" cy="291053"/>
          </a:xfrm>
          <a:prstGeom prst="wedgeRectCallout">
            <a:avLst>
              <a:gd name="adj1" fmla="val 54357"/>
              <a:gd name="adj2" fmla="val -311502"/>
            </a:avLst>
          </a:prstGeom>
          <a:solidFill>
            <a:srgbClr val="0CC6E8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t"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000000"/>
                </a:solidFill>
              </a:rPr>
              <a:t>Trennlinie</a:t>
            </a:r>
          </a:p>
        </p:txBody>
      </p:sp>
      <p:sp>
        <p:nvSpPr>
          <p:cNvPr id="12" name="Sprechblase: rechteckig 11">
            <a:extLst>
              <a:ext uri="{FF2B5EF4-FFF2-40B4-BE49-F238E27FC236}">
                <a16:creationId xmlns:a16="http://schemas.microsoft.com/office/drawing/2014/main" id="{4E2F38D9-C18D-65FD-39CF-BE87451A3A99}"/>
              </a:ext>
            </a:extLst>
          </p:cNvPr>
          <p:cNvSpPr/>
          <p:nvPr/>
        </p:nvSpPr>
        <p:spPr bwMode="gray">
          <a:xfrm>
            <a:off x="7812038" y="2205752"/>
            <a:ext cx="780661" cy="210954"/>
          </a:xfrm>
          <a:prstGeom prst="wedgeRectCallout">
            <a:avLst>
              <a:gd name="adj1" fmla="val -27980"/>
              <a:gd name="adj2" fmla="val 523967"/>
            </a:avLst>
          </a:prstGeom>
          <a:solidFill>
            <a:srgbClr val="0CC6E8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t"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000000"/>
                </a:solidFill>
              </a:rPr>
              <a:t>Aufzählungen</a:t>
            </a:r>
          </a:p>
        </p:txBody>
      </p:sp>
      <p:sp>
        <p:nvSpPr>
          <p:cNvPr id="13" name="Sprechblase: rechteckig 12">
            <a:extLst>
              <a:ext uri="{FF2B5EF4-FFF2-40B4-BE49-F238E27FC236}">
                <a16:creationId xmlns:a16="http://schemas.microsoft.com/office/drawing/2014/main" id="{D09F1540-4FD6-791E-0A72-762BB0B1BE3D}"/>
              </a:ext>
            </a:extLst>
          </p:cNvPr>
          <p:cNvSpPr/>
          <p:nvPr/>
        </p:nvSpPr>
        <p:spPr bwMode="gray">
          <a:xfrm>
            <a:off x="9995401" y="2217823"/>
            <a:ext cx="1164011" cy="210954"/>
          </a:xfrm>
          <a:prstGeom prst="wedgeRectCallout">
            <a:avLst>
              <a:gd name="adj1" fmla="val -53542"/>
              <a:gd name="adj2" fmla="val 495463"/>
            </a:avLst>
          </a:prstGeom>
          <a:solidFill>
            <a:srgbClr val="0CC6E8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t"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000000"/>
                </a:solidFill>
              </a:rPr>
              <a:t>Text mit URL verlinken</a:t>
            </a:r>
          </a:p>
        </p:txBody>
      </p:sp>
      <p:sp>
        <p:nvSpPr>
          <p:cNvPr id="14" name="Sprechblase: rechteckig 13">
            <a:extLst>
              <a:ext uri="{FF2B5EF4-FFF2-40B4-BE49-F238E27FC236}">
                <a16:creationId xmlns:a16="http://schemas.microsoft.com/office/drawing/2014/main" id="{5B4D278F-77AA-847D-56F6-BEC27B691A62}"/>
              </a:ext>
            </a:extLst>
          </p:cNvPr>
          <p:cNvSpPr/>
          <p:nvPr/>
        </p:nvSpPr>
        <p:spPr bwMode="gray">
          <a:xfrm>
            <a:off x="3782009" y="3429000"/>
            <a:ext cx="1250445" cy="504042"/>
          </a:xfrm>
          <a:prstGeom prst="wedgeRectCallout">
            <a:avLst>
              <a:gd name="adj1" fmla="val 102038"/>
              <a:gd name="adj2" fmla="val -39078"/>
            </a:avLst>
          </a:prstGeom>
          <a:solidFill>
            <a:srgbClr val="0CC6E8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t"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000000"/>
                </a:solidFill>
              </a:rPr>
              <a:t>Verschiedene Vorlagen für Überschriften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E6CD4E3E-B127-1610-D7B3-BD77B7B023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295" y="2339503"/>
            <a:ext cx="4049963" cy="942220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01EADD6D-B60D-5FF3-BA12-4BE8E6B6A78B}"/>
              </a:ext>
            </a:extLst>
          </p:cNvPr>
          <p:cNvSpPr txBox="1"/>
          <p:nvPr/>
        </p:nvSpPr>
        <p:spPr>
          <a:xfrm>
            <a:off x="503853" y="3340359"/>
            <a:ext cx="27369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indent="-285750" defTabSz="91440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bg1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de-DE" sz="1800" dirty="0">
                <a:solidFill>
                  <a:schemeClr val="bg1"/>
                </a:solidFill>
                <a:latin typeface="Arial"/>
                <a:cs typeface="Arial"/>
              </a:rPr>
              <a:t>Überschrift 4 in </a:t>
            </a:r>
            <a:r>
              <a:rPr lang="de-DE" sz="1800" dirty="0" err="1">
                <a:solidFill>
                  <a:schemeClr val="bg1"/>
                </a:solidFill>
                <a:latin typeface="Arial"/>
                <a:cs typeface="Arial"/>
              </a:rPr>
              <a:t>Bold</a:t>
            </a:r>
            <a:r>
              <a:rPr lang="de-DE" sz="1800" dirty="0">
                <a:solidFill>
                  <a:schemeClr val="bg1"/>
                </a:solidFill>
                <a:latin typeface="Arial"/>
                <a:cs typeface="Arial"/>
              </a:rPr>
              <a:t> und gesonderte Farbe</a:t>
            </a:r>
          </a:p>
        </p:txBody>
      </p:sp>
    </p:spTree>
    <p:extLst>
      <p:ext uri="{BB962C8B-B14F-4D97-AF65-F5344CB8AC3E}">
        <p14:creationId xmlns:p14="http://schemas.microsoft.com/office/powerpoint/2010/main" val="27983098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2C003E-918B-C405-3B5E-2025C1D5D2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anstaltung anle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8DD4BF0-E2B4-8823-76F0-667D433AA5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Dateiname_V_x_y.pptx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5AA9DBD-91D0-1BBB-AEF4-E7836F2E29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9A3F6D8-D847-F7D3-5C33-A2825D5A3D0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2CC1BED-48D0-405B-A379-F7700AEFB13C}" type="datetime1">
              <a:rPr lang="de-DE" smtClean="0"/>
              <a:t>10.02.2025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DED37F9-9B5C-F74E-0CA4-9B637BE2E8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2683" y="883157"/>
            <a:ext cx="7103998" cy="2958242"/>
          </a:xfrm>
          <a:prstGeom prst="rect">
            <a:avLst/>
          </a:prstGeom>
        </p:spPr>
      </p:pic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894009C7-0A80-D51D-2695-4BF03A72D75A}"/>
              </a:ext>
            </a:extLst>
          </p:cNvPr>
          <p:cNvSpPr/>
          <p:nvPr/>
        </p:nvSpPr>
        <p:spPr bwMode="gray">
          <a:xfrm>
            <a:off x="224575" y="2430341"/>
            <a:ext cx="644799" cy="386479"/>
          </a:xfrm>
          <a:prstGeom prst="rightArrow">
            <a:avLst/>
          </a:prstGeom>
          <a:solidFill>
            <a:srgbClr val="0CC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/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FC64803-B17D-DE92-A48A-90B0D5BB49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9105" y="3126052"/>
            <a:ext cx="3575295" cy="2466062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4C0B746E-25C7-2583-8A56-A758A720BE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19591" y="4161732"/>
            <a:ext cx="1604865" cy="678779"/>
          </a:xfrm>
          <a:prstGeom prst="rect">
            <a:avLst/>
          </a:prstGeom>
        </p:spPr>
      </p:pic>
      <p:sp>
        <p:nvSpPr>
          <p:cNvPr id="14" name="Sprechblase: rechteckig 13">
            <a:extLst>
              <a:ext uri="{FF2B5EF4-FFF2-40B4-BE49-F238E27FC236}">
                <a16:creationId xmlns:a16="http://schemas.microsoft.com/office/drawing/2014/main" id="{01AD3EC1-F716-1F91-F9AF-DFFE2D457037}"/>
              </a:ext>
            </a:extLst>
          </p:cNvPr>
          <p:cNvSpPr/>
          <p:nvPr/>
        </p:nvSpPr>
        <p:spPr bwMode="gray">
          <a:xfrm>
            <a:off x="9822023" y="3947128"/>
            <a:ext cx="1473702" cy="214604"/>
          </a:xfrm>
          <a:prstGeom prst="wedgeRectCallout">
            <a:avLst>
              <a:gd name="adj1" fmla="val -40959"/>
              <a:gd name="adj2" fmla="val 124082"/>
            </a:avLst>
          </a:prstGeom>
          <a:solidFill>
            <a:srgbClr val="0CC6E8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t"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000000"/>
                </a:solidFill>
              </a:rPr>
              <a:t>Vorschaubild auf Webseite</a:t>
            </a:r>
          </a:p>
        </p:txBody>
      </p:sp>
    </p:spTree>
    <p:extLst>
      <p:ext uri="{BB962C8B-B14F-4D97-AF65-F5344CB8AC3E}">
        <p14:creationId xmlns:p14="http://schemas.microsoft.com/office/powerpoint/2010/main" val="20433786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B2538A5A-35C2-5939-4FFA-8800497525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2414" y="1394003"/>
            <a:ext cx="10814488" cy="3211344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C1EDFDE8-F41A-56FB-0D88-3D7D19B8CC8E}"/>
              </a:ext>
            </a:extLst>
          </p:cNvPr>
          <p:cNvSpPr/>
          <p:nvPr/>
        </p:nvSpPr>
        <p:spPr bwMode="gray">
          <a:xfrm>
            <a:off x="7427167" y="3688702"/>
            <a:ext cx="4466253" cy="2718318"/>
          </a:xfrm>
          <a:prstGeom prst="rect">
            <a:avLst/>
          </a:prstGeom>
          <a:solidFill>
            <a:srgbClr val="3145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/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9633E1-37BC-C905-180B-5AB4810DA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sicht Vereinss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43FD672-1E90-8EEB-0D62-E26361064A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Dateiname_V_x_y.pptx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FC926B-0584-A5AE-46ED-9B2EF77B95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1E04CD9-84CF-CE8F-7DF5-1661CF86B81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2CC1BED-48D0-405B-A379-F7700AEFB13C}" type="datetime1">
              <a:rPr lang="de-DE" smtClean="0"/>
              <a:t>10.02.2025</a:t>
            </a:fld>
            <a:endParaRPr lang="de-DE" dirty="0"/>
          </a:p>
        </p:txBody>
      </p:sp>
      <p:sp>
        <p:nvSpPr>
          <p:cNvPr id="9" name="Sprechblase: rechteckig 8">
            <a:extLst>
              <a:ext uri="{FF2B5EF4-FFF2-40B4-BE49-F238E27FC236}">
                <a16:creationId xmlns:a16="http://schemas.microsoft.com/office/drawing/2014/main" id="{B3DA1574-E66F-E064-5E36-0FB8CFBF7AD2}"/>
              </a:ext>
            </a:extLst>
          </p:cNvPr>
          <p:cNvSpPr/>
          <p:nvPr/>
        </p:nvSpPr>
        <p:spPr bwMode="gray">
          <a:xfrm>
            <a:off x="9800252" y="983688"/>
            <a:ext cx="1396482" cy="334001"/>
          </a:xfrm>
          <a:prstGeom prst="wedgeRectCallout">
            <a:avLst>
              <a:gd name="adj1" fmla="val -31105"/>
              <a:gd name="adj2" fmla="val 179445"/>
            </a:avLst>
          </a:prstGeom>
          <a:solidFill>
            <a:srgbClr val="0CC6E8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t"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000000"/>
                </a:solidFill>
              </a:rPr>
              <a:t>Suche bei Namen der Seite</a:t>
            </a:r>
          </a:p>
        </p:txBody>
      </p:sp>
      <p:sp>
        <p:nvSpPr>
          <p:cNvPr id="10" name="Sprechblase: rechteckig 9">
            <a:extLst>
              <a:ext uri="{FF2B5EF4-FFF2-40B4-BE49-F238E27FC236}">
                <a16:creationId xmlns:a16="http://schemas.microsoft.com/office/drawing/2014/main" id="{672EDE2F-CA70-D508-3C3D-BD1C06C764CD}"/>
              </a:ext>
            </a:extLst>
          </p:cNvPr>
          <p:cNvSpPr/>
          <p:nvPr/>
        </p:nvSpPr>
        <p:spPr bwMode="gray">
          <a:xfrm>
            <a:off x="2852057" y="2730758"/>
            <a:ext cx="880188" cy="328645"/>
          </a:xfrm>
          <a:prstGeom prst="wedgeRectCallout">
            <a:avLst>
              <a:gd name="adj1" fmla="val -138265"/>
              <a:gd name="adj2" fmla="val 135510"/>
            </a:avLst>
          </a:prstGeom>
          <a:solidFill>
            <a:srgbClr val="0CC6E8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t"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000000"/>
                </a:solidFill>
              </a:rPr>
              <a:t>Striche zeigen Unterseiten a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9FF2DF9-F0A2-6B9D-F634-B3E5F272956C}"/>
              </a:ext>
            </a:extLst>
          </p:cNvPr>
          <p:cNvSpPr txBox="1"/>
          <p:nvPr/>
        </p:nvSpPr>
        <p:spPr>
          <a:xfrm>
            <a:off x="7649936" y="3894809"/>
            <a:ext cx="4180114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buClr>
                <a:schemeClr val="bg1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Bennenung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 der Unterseiten:</a:t>
            </a:r>
          </a:p>
          <a:p>
            <a:pPr marL="690563" lvl="1" indent="-233363">
              <a:spcBef>
                <a:spcPts val="600"/>
              </a:spcBef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de-DE" dirty="0">
                <a:solidFill>
                  <a:schemeClr val="bg1"/>
                </a:solidFill>
                <a:latin typeface="Arial"/>
                <a:cs typeface="Arial"/>
              </a:rPr>
              <a:t>Funktionsträger</a:t>
            </a:r>
          </a:p>
          <a:p>
            <a:pPr marL="690563" lvl="1" indent="-233363">
              <a:spcBef>
                <a:spcPts val="600"/>
              </a:spcBef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Geschichte</a:t>
            </a:r>
          </a:p>
          <a:p>
            <a:pPr marL="690563" lvl="1" indent="-233363">
              <a:spcBef>
                <a:spcPts val="600"/>
              </a:spcBef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de-DE" dirty="0">
                <a:solidFill>
                  <a:schemeClr val="bg1"/>
                </a:solidFill>
                <a:latin typeface="Arial"/>
                <a:cs typeface="Arial"/>
              </a:rPr>
              <a:t>Infos</a:t>
            </a:r>
          </a:p>
          <a:p>
            <a:pPr marL="690563" lvl="1" indent="-233363">
              <a:spcBef>
                <a:spcPts val="600"/>
              </a:spcBef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Rückblick a</a:t>
            </a:r>
            <a:r>
              <a:rPr lang="de-DE" dirty="0" err="1">
                <a:solidFill>
                  <a:schemeClr val="bg1"/>
                </a:solidFill>
                <a:latin typeface="Arial"/>
                <a:cs typeface="Arial"/>
              </a:rPr>
              <a:t>uf</a:t>
            </a:r>
            <a:r>
              <a:rPr lang="de-DE" dirty="0">
                <a:solidFill>
                  <a:schemeClr val="bg1"/>
                </a:solidFill>
                <a:latin typeface="Arial"/>
                <a:cs typeface="Arial"/>
              </a:rPr>
              <a:t>:</a:t>
            </a:r>
          </a:p>
          <a:p>
            <a:pPr marL="690563" lvl="1" indent="-233363">
              <a:spcBef>
                <a:spcPts val="600"/>
              </a:spcBef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Zu den </a:t>
            </a:r>
            <a:r>
              <a:rPr lang="de-DE" dirty="0">
                <a:solidFill>
                  <a:schemeClr val="bg1"/>
                </a:solidFill>
                <a:latin typeface="Arial"/>
                <a:cs typeface="Arial"/>
              </a:rPr>
              <a:t>Downloads</a:t>
            </a:r>
          </a:p>
          <a:p>
            <a:pPr marL="690563" lvl="1" indent="-233363">
              <a:spcBef>
                <a:spcPts val="600"/>
              </a:spcBef>
              <a:spcAft>
                <a:spcPts val="200"/>
              </a:spcAft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Zum Im</a:t>
            </a:r>
            <a:r>
              <a:rPr lang="de-DE" dirty="0" err="1">
                <a:solidFill>
                  <a:schemeClr val="bg1"/>
                </a:solidFill>
                <a:latin typeface="Arial"/>
                <a:cs typeface="Arial"/>
              </a:rPr>
              <a:t>pressum</a:t>
            </a:r>
            <a:endParaRPr kumimoji="0" lang="de-DE" b="0" i="0" u="none" strike="noStrike" kern="1200" cap="none" spc="0" normalizeH="0" baseline="0" noProof="0" dirty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4" name="Sprechblase: rechteckig 13">
            <a:extLst>
              <a:ext uri="{FF2B5EF4-FFF2-40B4-BE49-F238E27FC236}">
                <a16:creationId xmlns:a16="http://schemas.microsoft.com/office/drawing/2014/main" id="{CDD83CB3-0124-D997-E96F-80D86FB71147}"/>
              </a:ext>
            </a:extLst>
          </p:cNvPr>
          <p:cNvSpPr/>
          <p:nvPr/>
        </p:nvSpPr>
        <p:spPr bwMode="gray">
          <a:xfrm>
            <a:off x="10129933" y="4941249"/>
            <a:ext cx="1396482" cy="334001"/>
          </a:xfrm>
          <a:prstGeom prst="wedgeRectCallout">
            <a:avLst>
              <a:gd name="adj1" fmla="val -71640"/>
              <a:gd name="adj2" fmla="val 17417"/>
            </a:avLst>
          </a:prstGeom>
          <a:solidFill>
            <a:srgbClr val="0CC6E8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100" tIns="38100" rIns="38100" bIns="38100" rtlCol="0" anchor="t"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sz="800" dirty="0">
                <a:solidFill>
                  <a:srgbClr val="000000"/>
                </a:solidFill>
              </a:rPr>
              <a:t>Nach Alphabet sortiert</a:t>
            </a:r>
          </a:p>
        </p:txBody>
      </p:sp>
    </p:spTree>
    <p:extLst>
      <p:ext uri="{BB962C8B-B14F-4D97-AF65-F5344CB8AC3E}">
        <p14:creationId xmlns:p14="http://schemas.microsoft.com/office/powerpoint/2010/main" val="41706254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5FAFEC-CD23-DAE3-1969-5223FF3A4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ld im neuen Tab öffn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262AE27-F303-6213-6DDA-F431DC5D79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Dateiname_V_x_y.pptx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2D9E73A-6AD2-DD9C-BDD3-56C0089E9C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842063F-2B80-7725-A1CE-8165DBBE88D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2CC1BED-48D0-405B-A379-F7700AEFB13C}" type="datetime1">
              <a:rPr lang="de-DE" smtClean="0"/>
              <a:t>10.02.2025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410D690-F5A9-FDB3-9E0B-49F8EC366C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2956" y="1528118"/>
            <a:ext cx="7036839" cy="3665200"/>
          </a:xfrm>
          <a:prstGeom prst="rect">
            <a:avLst/>
          </a:prstGeom>
        </p:spPr>
      </p:pic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55FB702A-2DC8-8288-DD74-C04DB6E0B630}"/>
              </a:ext>
            </a:extLst>
          </p:cNvPr>
          <p:cNvSpPr/>
          <p:nvPr/>
        </p:nvSpPr>
        <p:spPr bwMode="gray">
          <a:xfrm>
            <a:off x="3997843" y="4057991"/>
            <a:ext cx="560850" cy="336162"/>
          </a:xfrm>
          <a:prstGeom prst="rightArrow">
            <a:avLst/>
          </a:prstGeom>
          <a:solidFill>
            <a:srgbClr val="0CC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/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F0C2BBD-0B4E-D78F-95E3-32388F88C3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742" y="2855166"/>
            <a:ext cx="2810297" cy="2046903"/>
          </a:xfrm>
          <a:prstGeom prst="rect">
            <a:avLst/>
          </a:prstGeom>
        </p:spPr>
      </p:pic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CA04096E-7228-F4AF-F98D-D78606E97924}"/>
              </a:ext>
            </a:extLst>
          </p:cNvPr>
          <p:cNvSpPr/>
          <p:nvPr/>
        </p:nvSpPr>
        <p:spPr bwMode="gray">
          <a:xfrm rot="5400000">
            <a:off x="1935968" y="2577795"/>
            <a:ext cx="597371" cy="358052"/>
          </a:xfrm>
          <a:prstGeom prst="rightArrow">
            <a:avLst/>
          </a:prstGeom>
          <a:solidFill>
            <a:srgbClr val="0CC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/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9879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k in neuem Tab öffn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Dateiname_V_x_y.pptx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9A084B-84B6-4F15-B0F5-CCDC4176846B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5CD3A67-52EF-4977-8B62-C2D13EB8504C}" type="datetime1">
              <a:rPr lang="de-DE" smtClean="0"/>
              <a:t>10.02.2025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181BDB0-344A-1346-A200-FDCCFE580D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2741" y="1180674"/>
            <a:ext cx="3773054" cy="4397323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AC5E8CA-9190-B119-C3B3-E5B0CBDC34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1309" y="2581275"/>
            <a:ext cx="3781425" cy="847725"/>
          </a:xfrm>
          <a:prstGeom prst="rect">
            <a:avLst/>
          </a:prstGeom>
        </p:spPr>
      </p:pic>
      <p:sp>
        <p:nvSpPr>
          <p:cNvPr id="5" name="Pfeil: nach rechts 4">
            <a:extLst>
              <a:ext uri="{FF2B5EF4-FFF2-40B4-BE49-F238E27FC236}">
                <a16:creationId xmlns:a16="http://schemas.microsoft.com/office/drawing/2014/main" id="{61889475-5AD7-0B8D-3C03-B11FE2A4CA41}"/>
              </a:ext>
            </a:extLst>
          </p:cNvPr>
          <p:cNvSpPr/>
          <p:nvPr/>
        </p:nvSpPr>
        <p:spPr bwMode="gray">
          <a:xfrm>
            <a:off x="6096000" y="2503302"/>
            <a:ext cx="565809" cy="339135"/>
          </a:xfrm>
          <a:prstGeom prst="rightArrow">
            <a:avLst/>
          </a:prstGeom>
          <a:solidFill>
            <a:srgbClr val="0CC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/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7" name="Pfeil: nach rechts 6">
            <a:extLst>
              <a:ext uri="{FF2B5EF4-FFF2-40B4-BE49-F238E27FC236}">
                <a16:creationId xmlns:a16="http://schemas.microsoft.com/office/drawing/2014/main" id="{D66C888E-2285-A0D5-0857-A6A724E21F35}"/>
              </a:ext>
            </a:extLst>
          </p:cNvPr>
          <p:cNvSpPr/>
          <p:nvPr/>
        </p:nvSpPr>
        <p:spPr bwMode="gray">
          <a:xfrm rot="5400000">
            <a:off x="4027171" y="2265821"/>
            <a:ext cx="596710" cy="357656"/>
          </a:xfrm>
          <a:prstGeom prst="rightArrow">
            <a:avLst/>
          </a:prstGeom>
          <a:solidFill>
            <a:srgbClr val="0CC6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/>
          <a:lstStyle/>
          <a:p>
            <a:pPr algn="ctr">
              <a:spcBef>
                <a:spcPts val="300"/>
              </a:spcBef>
              <a:spcAft>
                <a:spcPts val="100"/>
              </a:spcAft>
            </a:pPr>
            <a:endParaRPr lang="de-DE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0990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UNITY_16_9_blau">
  <a:themeElements>
    <a:clrScheme name="UNITY_Farben_2016_10_18">
      <a:dk1>
        <a:srgbClr val="2D2D2D"/>
      </a:dk1>
      <a:lt1>
        <a:srgbClr val="FFFFFF"/>
      </a:lt1>
      <a:dk2>
        <a:srgbClr val="144477"/>
      </a:dk2>
      <a:lt2>
        <a:srgbClr val="DCE3E8"/>
      </a:lt2>
      <a:accent1>
        <a:srgbClr val="144477"/>
      </a:accent1>
      <a:accent2>
        <a:srgbClr val="4876A0"/>
      </a:accent2>
      <a:accent3>
        <a:srgbClr val="BDC6D1"/>
      </a:accent3>
      <a:accent4>
        <a:srgbClr val="FFC300"/>
      </a:accent4>
      <a:accent5>
        <a:srgbClr val="0A967A"/>
      </a:accent5>
      <a:accent6>
        <a:srgbClr val="B60028"/>
      </a:accent6>
      <a:hlink>
        <a:srgbClr val="4876A0"/>
      </a:hlink>
      <a:folHlink>
        <a:srgbClr val="4876A0"/>
      </a:folHlink>
    </a:clrScheme>
    <a:fontScheme name="Vorlage_V_4_0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Vorlage_V_4_0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 bwMode="gray">
        <a:solidFill>
          <a:schemeClr val="bg1"/>
        </a:solidFill>
        <a:ln>
          <a:solidFill>
            <a:schemeClr val="tx2"/>
          </a:solidFill>
        </a:ln>
      </a:spPr>
      <a:bodyPr lIns="72000" tIns="0" rIns="72000" bIns="0" rtlCol="0" anchor="t"/>
      <a:lstStyle>
        <a:defPPr>
          <a:spcBef>
            <a:spcPts val="300"/>
          </a:spcBef>
          <a:spcAft>
            <a:spcPts val="100"/>
          </a:spcAft>
          <a:defRPr sz="18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0" rIns="72000" bIns="0" rtlCol="0">
        <a:noAutofit/>
      </a:bodyPr>
      <a:lstStyle>
        <a:defPPr marL="361950" indent="-361950">
          <a:spcBef>
            <a:spcPts val="300"/>
          </a:spcBef>
          <a:spcAft>
            <a:spcPts val="100"/>
          </a:spcAft>
          <a:buClr>
            <a:schemeClr val="tx2"/>
          </a:buClr>
          <a:buFont typeface="Wingdings" pitchFamily="2" charset="2"/>
          <a:buChar char="n"/>
          <a:defRPr sz="1800" dirty="0"/>
        </a:defPPr>
      </a:lstStyle>
    </a:txDef>
  </a:objectDefaults>
  <a:extraClrSchemeLst/>
  <a:custClrLst>
    <a:custClr name="UNITY Berry">
      <a:srgbClr val="891F5E"/>
    </a:custClr>
    <a:custClr name="UNITY Petrol">
      <a:srgbClr val="2D7694"/>
    </a:custClr>
    <a:custClr name="UNITY Midnight">
      <a:srgbClr val="2A275D"/>
    </a:custClr>
  </a:custClrLst>
  <a:extLst>
    <a:ext uri="{05A4C25C-085E-4340-85A3-A5531E510DB2}">
      <thm15:themeFamily xmlns:thm15="http://schemas.microsoft.com/office/thememl/2012/main" name="blank.potx" id="{05150E91-3110-4760-A32B-B418BBB406D2}" vid="{98BF043A-D0F2-4453-96FF-2BEA2C1C2DE7}"/>
    </a:ext>
  </a:extLst>
</a:theme>
</file>

<file path=ppt/theme/theme2.xml><?xml version="1.0" encoding="utf-8"?>
<a:theme xmlns:a="http://schemas.openxmlformats.org/drawingml/2006/main" name="3_UNITY_16_9_blau">
  <a:themeElements>
    <a:clrScheme name="UNITY_Farben_2016_10_18">
      <a:dk1>
        <a:srgbClr val="2D2D2D"/>
      </a:dk1>
      <a:lt1>
        <a:srgbClr val="FFFFFF"/>
      </a:lt1>
      <a:dk2>
        <a:srgbClr val="144477"/>
      </a:dk2>
      <a:lt2>
        <a:srgbClr val="DCE3E8"/>
      </a:lt2>
      <a:accent1>
        <a:srgbClr val="144477"/>
      </a:accent1>
      <a:accent2>
        <a:srgbClr val="4876A0"/>
      </a:accent2>
      <a:accent3>
        <a:srgbClr val="BDC6D1"/>
      </a:accent3>
      <a:accent4>
        <a:srgbClr val="FFC300"/>
      </a:accent4>
      <a:accent5>
        <a:srgbClr val="0A967A"/>
      </a:accent5>
      <a:accent6>
        <a:srgbClr val="B60028"/>
      </a:accent6>
      <a:hlink>
        <a:srgbClr val="4876A0"/>
      </a:hlink>
      <a:folHlink>
        <a:srgbClr val="4876A0"/>
      </a:folHlink>
    </a:clrScheme>
    <a:fontScheme name="Vorlage_V_4_0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Vorlage_V_4_0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  <a:ln w="19050" cap="flat" cmpd="sng" algn="ctr">
          <a:solidFill>
            <a:srgbClr val="003258"/>
          </a:solidFill>
          <a:prstDash val="solid"/>
        </a:ln>
      </a:lnStyleLst>
      <a:effectStyleLst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chilly" dir="r"/>
          </a:scene3d>
          <a:sp3d prstMaterial="plastic">
            <a:bevelT w="165100"/>
          </a:sp3d>
        </a:effectStyle>
        <a:effectStyle>
          <a:effectLst>
            <a:outerShdw blurRad="38100" dist="101600" dir="2400000" rotWithShape="0">
              <a:srgbClr val="000000">
                <a:alpha val="30000"/>
              </a:srgbClr>
            </a:outerShdw>
          </a:effectLst>
          <a:scene3d>
            <a:camera prst="obliqueBottomRight" fov="6000000"/>
            <a:lightRig rig="flat" dir="t"/>
          </a:scene3d>
          <a:sp3d prstMaterial="plastic">
            <a:bevelT w="254000" h="127000"/>
          </a:sp3d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 bwMode="gray">
        <a:solidFill>
          <a:schemeClr val="bg1"/>
        </a:solidFill>
        <a:ln>
          <a:solidFill>
            <a:schemeClr val="tx2"/>
          </a:solidFill>
        </a:ln>
      </a:spPr>
      <a:bodyPr lIns="72000" tIns="0" rIns="72000" bIns="0" rtlCol="0" anchor="t"/>
      <a:lstStyle>
        <a:defPPr>
          <a:spcBef>
            <a:spcPts val="300"/>
          </a:spcBef>
          <a:spcAft>
            <a:spcPts val="100"/>
          </a:spcAft>
          <a:defRPr sz="18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0" rIns="72000" bIns="0" rtlCol="0">
        <a:noAutofit/>
      </a:bodyPr>
      <a:lstStyle>
        <a:defPPr marL="361950" indent="-361950">
          <a:spcBef>
            <a:spcPts val="300"/>
          </a:spcBef>
          <a:spcAft>
            <a:spcPts val="100"/>
          </a:spcAft>
          <a:buClr>
            <a:schemeClr val="tx2"/>
          </a:buClr>
          <a:buFont typeface="Wingdings" pitchFamily="2" charset="2"/>
          <a:buChar char="n"/>
          <a:defRPr sz="1800" dirty="0"/>
        </a:defPPr>
      </a:lstStyle>
    </a:txDef>
  </a:objectDefaults>
  <a:extraClrSchemeLst/>
  <a:custClrLst>
    <a:custClr name="UNITY Berry">
      <a:srgbClr val="891F5E"/>
    </a:custClr>
    <a:custClr name="UNITY Petrol">
      <a:srgbClr val="2D7694"/>
    </a:custClr>
    <a:custClr name="UNITY Midnight">
      <a:srgbClr val="2A275D"/>
    </a:custClr>
  </a:custClrLst>
  <a:extLst>
    <a:ext uri="{05A4C25C-085E-4340-85A3-A5531E510DB2}">
      <thm15:themeFamily xmlns:thm15="http://schemas.microsoft.com/office/thememl/2012/main" name="blank.potx" id="{05150E91-3110-4760-A32B-B418BBB406D2}" vid="{98BF043A-D0F2-4453-96FF-2BEA2C1C2DE7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A3FEC86BB396B41877CD4A5593A93BF" ma:contentTypeVersion="13" ma:contentTypeDescription="Create a new document." ma:contentTypeScope="" ma:versionID="3c13c68784b4450ffca8e5aca04e50ce">
  <xsd:schema xmlns:xsd="http://www.w3.org/2001/XMLSchema" xmlns:xs="http://www.w3.org/2001/XMLSchema" xmlns:p="http://schemas.microsoft.com/office/2006/metadata/properties" xmlns:ns2="d344414a-e4a4-4f95-a11d-ccd3ee2b4d19" xmlns:ns3="a532e91a-2747-4546-8f2b-940eaaeee99b" targetNamespace="http://schemas.microsoft.com/office/2006/metadata/properties" ma:root="true" ma:fieldsID="5d5977bff41abe09971e7b35010775ac" ns2:_="" ns3:_="">
    <xsd:import namespace="d344414a-e4a4-4f95-a11d-ccd3ee2b4d19"/>
    <xsd:import namespace="a532e91a-2747-4546-8f2b-940eaaeee99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44414a-e4a4-4f95-a11d-ccd3ee2b4d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32e91a-2747-4546-8f2b-940eaaeee99b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5EF2850-C8DE-48BA-84C2-1112B39DD50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344414a-e4a4-4f95-a11d-ccd3ee2b4d19"/>
    <ds:schemaRef ds:uri="a532e91a-2747-4546-8f2b-940eaaeee99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4459A22-C21C-4608-9D21-D24519BE714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9835AF8-28BF-4C05-A730-8B44FBC7732B}">
  <ds:schemaRefs>
    <ds:schemaRef ds:uri="http://schemas.microsoft.com/office/2006/documentManagement/types"/>
    <ds:schemaRef ds:uri="f54de86b-424c-43cf-b287-ea3b54431bd4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microsoft.com/sharepoint/v3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7</Words>
  <Application>Microsoft Office PowerPoint</Application>
  <PresentationFormat>Breitbild</PresentationFormat>
  <Paragraphs>72</Paragraphs>
  <Slides>10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7" baseType="lpstr">
      <vt:lpstr>Arial</vt:lpstr>
      <vt:lpstr>Wingdings</vt:lpstr>
      <vt:lpstr>Wingdings 2</vt:lpstr>
      <vt:lpstr>Wingdings 3</vt:lpstr>
      <vt:lpstr>2_UNITY_16_9_blau</vt:lpstr>
      <vt:lpstr>3_UNITY_16_9_blau</vt:lpstr>
      <vt:lpstr>think-cell Folie</vt:lpstr>
      <vt:lpstr>PowerPoint-Präsentation</vt:lpstr>
      <vt:lpstr>Dashboard Übersicht</vt:lpstr>
      <vt:lpstr>Medien Übersicht</vt:lpstr>
      <vt:lpstr>Aktuelles Beitrag</vt:lpstr>
      <vt:lpstr>Textfenster</vt:lpstr>
      <vt:lpstr>Veranstaltung anlegen</vt:lpstr>
      <vt:lpstr>Übersicht Vereinsseiten</vt:lpstr>
      <vt:lpstr>Bild im neuen Tab öffnen</vt:lpstr>
      <vt:lpstr>Link in neuem Tab öffne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öttcher, Anna</dc:creator>
  <cp:lastModifiedBy>Gievers, Titian</cp:lastModifiedBy>
  <cp:revision>7</cp:revision>
  <dcterms:created xsi:type="dcterms:W3CDTF">2024-06-05T06:12:19Z</dcterms:created>
  <dcterms:modified xsi:type="dcterms:W3CDTF">2025-02-10T13:4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ojektphase">
    <vt:lpwstr/>
  </property>
  <property fmtid="{D5CDD505-2E9C-101B-9397-08002B2CF9AE}" pid="3" name="4-Ebenen Modell / Innofeld">
    <vt:lpwstr/>
  </property>
  <property fmtid="{D5CDD505-2E9C-101B-9397-08002B2CF9AE}" pid="4" name="Branche">
    <vt:lpwstr/>
  </property>
  <property fmtid="{D5CDD505-2E9C-101B-9397-08002B2CF9AE}" pid="5" name="Prozesskette">
    <vt:lpwstr/>
  </property>
  <property fmtid="{D5CDD505-2E9C-101B-9397-08002B2CF9AE}" pid="6" name="ContentTypeId">
    <vt:lpwstr>0x0101001A3FEC86BB396B41877CD4A5593A93BF</vt:lpwstr>
  </property>
  <property fmtid="{D5CDD505-2E9C-101B-9397-08002B2CF9AE}" pid="7" name="Inhaltsart">
    <vt:lpwstr>23;#Vorlage|10f23b61-8479-4db8-a7a4-fc9936478b2b</vt:lpwstr>
  </property>
</Properties>
</file>